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3.xml" ContentType="application/vnd.ms-office.chartstyle+xml"/>
  <Override PartName="/ppt/charts/colors3.xml" ContentType="application/vnd.ms-office.chartcolorstyle+xml"/>
  <Override PartName="/ppt/charts/style4.xml" ContentType="application/vnd.ms-office.chartstyle+xml"/>
  <Override PartName="/ppt/charts/colors4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82" r:id="rId2"/>
    <p:sldId id="320" r:id="rId3"/>
    <p:sldId id="309" r:id="rId4"/>
    <p:sldId id="312" r:id="rId5"/>
    <p:sldId id="302" r:id="rId6"/>
    <p:sldId id="321" r:id="rId7"/>
    <p:sldId id="311" r:id="rId8"/>
    <p:sldId id="319" r:id="rId9"/>
    <p:sldId id="310" r:id="rId10"/>
    <p:sldId id="295" r:id="rId11"/>
    <p:sldId id="297" r:id="rId12"/>
  </p:sldIdLst>
  <p:sldSz cx="9144000" cy="6858000" type="screen4x3"/>
  <p:notesSz cx="6858000" cy="914400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EB35"/>
    <a:srgbClr val="D7EEFD"/>
    <a:srgbClr val="B7DEF7"/>
    <a:srgbClr val="E2E5EC"/>
    <a:srgbClr val="5BAEE2"/>
    <a:srgbClr val="FDF083"/>
    <a:srgbClr val="5BADE1"/>
    <a:srgbClr val="A5A6AC"/>
    <a:srgbClr val="5DADE0"/>
    <a:srgbClr val="481A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280" autoAdjust="0"/>
  </p:normalViewPr>
  <p:slideViewPr>
    <p:cSldViewPr>
      <p:cViewPr>
        <p:scale>
          <a:sx n="81" d="100"/>
          <a:sy n="81" d="100"/>
        </p:scale>
        <p:origin x="-1044" y="-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-2826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____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F:\&#1055;&#1088;&#1077;&#1079;&#1077;&#1085;&#1090;&#1072;&#1094;&#1080;&#1103;%20&#1040;&#1089;&#1089;&#1094;&#1080;&#1072;&#1094;&#1080;&#1080;\JKX%20share%20pric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706518156242582E-3"/>
          <c:y val="1.4022011022344317E-3"/>
          <c:w val="0.96176951588220738"/>
          <c:h val="0.66723688950385984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УГД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Лист1!$A$2</c:f>
              <c:strCache>
                <c:ptCount val="1"/>
                <c:pt idx="0">
                  <c:v>Видобуток</c:v>
                </c:pt>
              </c:strCache>
            </c:strRef>
          </c:cat>
          <c:val>
            <c:numRef>
              <c:f>Лист1!$B$2</c:f>
              <c:numCache>
                <c:formatCode>0.00</c:formatCode>
                <c:ptCount val="1"/>
                <c:pt idx="0">
                  <c:v>1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FF1-4A86-AE90-15000113354C}"/>
            </c:ext>
          </c:extLst>
        </c:ser>
        <c:ser>
          <c:idx val="0"/>
          <c:order val="1"/>
          <c:tx>
            <c:strRef>
              <c:f>Лист1!$C$1</c:f>
              <c:strCache>
                <c:ptCount val="1"/>
                <c:pt idx="0">
                  <c:v>Незалежні + УН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Видобуток</c:v>
                </c:pt>
              </c:strCache>
            </c:strRef>
          </c:cat>
          <c:val>
            <c:numRef>
              <c:f>Лист1!$C$2</c:f>
              <c:numCache>
                <c:formatCode>0.00</c:formatCode>
                <c:ptCount val="1"/>
                <c:pt idx="0">
                  <c:v>5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43448192"/>
        <c:axId val="61905920"/>
      </c:barChart>
      <c:catAx>
        <c:axId val="434481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61905920"/>
        <c:crosses val="autoZero"/>
        <c:auto val="1"/>
        <c:lblAlgn val="ctr"/>
        <c:lblOffset val="100"/>
        <c:noMultiLvlLbl val="0"/>
      </c:catAx>
      <c:valAx>
        <c:axId val="61905920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one"/>
        <c:crossAx val="43448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3009101682304733"/>
          <c:w val="1"/>
          <c:h val="0.21111921907666834"/>
        </c:manualLayout>
      </c:layout>
      <c:overlay val="0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706518156242582E-3"/>
          <c:y val="1.4022011022344317E-3"/>
          <c:w val="0.80045283066800532"/>
          <c:h val="0.66723688950385984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УГД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Лист1!$A$2</c:f>
              <c:strCache>
                <c:ptCount val="1"/>
                <c:pt idx="0">
                  <c:v>Видобуток</c:v>
                </c:pt>
              </c:strCache>
            </c:strRef>
          </c:cat>
          <c:val>
            <c:numRef>
              <c:f>Лист1!$B$2</c:f>
              <c:numCache>
                <c:formatCode>0.00</c:formatCode>
                <c:ptCount val="1"/>
                <c:pt idx="0">
                  <c:v>1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FF1-4A86-AE90-15000113354C}"/>
            </c:ext>
          </c:extLst>
        </c:ser>
        <c:ser>
          <c:idx val="2"/>
          <c:order val="1"/>
          <c:tx>
            <c:strRef>
              <c:f>Лист1!$C$1</c:f>
              <c:strCache>
                <c:ptCount val="1"/>
                <c:pt idx="0">
                  <c:v>Незалежні + УН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strRef>
              <c:f>Лист1!$A$2</c:f>
              <c:strCache>
                <c:ptCount val="1"/>
                <c:pt idx="0">
                  <c:v>Видобуток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4094848"/>
        <c:axId val="74104832"/>
      </c:barChart>
      <c:catAx>
        <c:axId val="7409484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74104832"/>
        <c:crosses val="autoZero"/>
        <c:auto val="1"/>
        <c:lblAlgn val="ctr"/>
        <c:lblOffset val="100"/>
        <c:noMultiLvlLbl val="0"/>
      </c:catAx>
      <c:valAx>
        <c:axId val="74104832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one"/>
        <c:crossAx val="74094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0427812985318461"/>
          <c:w val="1"/>
          <c:h val="0.14937288291844639"/>
        </c:manualLayout>
      </c:layout>
      <c:overlay val="0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Зростання</c:v>
                </c:pt>
              </c:strCache>
            </c:strRef>
          </c:tx>
          <c:spPr>
            <a:ln w="44450" cap="rnd">
              <a:solidFill>
                <a:srgbClr val="5BAEE2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5BAEE2"/>
              </a:solidFill>
              <a:ln w="12700">
                <a:solidFill>
                  <a:srgbClr val="B7DEF7"/>
                </a:solidFill>
              </a:ln>
              <a:effectLst/>
            </c:spPr>
          </c:marker>
          <c:cat>
            <c:strRef>
              <c:f>Лист1!$B$1:$F$1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strCache>
            </c:strRef>
          </c:cat>
          <c:val>
            <c:numRef>
              <c:f>Лист1!$B$2:$F$2</c:f>
              <c:numCache>
                <c:formatCode>#,##0.0</c:formatCode>
                <c:ptCount val="5"/>
                <c:pt idx="0">
                  <c:v>19.715</c:v>
                </c:pt>
                <c:pt idx="1">
                  <c:v>20.668000000000003</c:v>
                </c:pt>
                <c:pt idx="2">
                  <c:v>23.169999999999987</c:v>
                </c:pt>
                <c:pt idx="3">
                  <c:v>25.799499999999973</c:v>
                </c:pt>
                <c:pt idx="4">
                  <c:v>27.53214999999997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DA5-4D88-87A9-3770DE6463E1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Стагнація</c:v>
                </c:pt>
              </c:strCache>
            </c:strRef>
          </c:tx>
          <c:spPr>
            <a:ln w="44450" cap="rnd">
              <a:solidFill>
                <a:srgbClr val="E2E5EC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E5EC"/>
              </a:solidFill>
              <a:ln w="9525">
                <a:solidFill>
                  <a:schemeClr val="bg1">
                    <a:lumMod val="85000"/>
                  </a:schemeClr>
                </a:solidFill>
              </a:ln>
              <a:effectLst/>
            </c:spPr>
          </c:marker>
          <c:cat>
            <c:strRef>
              <c:f>Лист1!$B$1:$F$1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strCache>
            </c:strRef>
          </c:cat>
          <c:val>
            <c:numRef>
              <c:f>Лист1!$B$3:$F$3</c:f>
              <c:numCache>
                <c:formatCode>#,##0.0</c:formatCode>
                <c:ptCount val="5"/>
                <c:pt idx="0">
                  <c:v>19.284999999999989</c:v>
                </c:pt>
                <c:pt idx="1">
                  <c:v>19</c:v>
                </c:pt>
                <c:pt idx="2">
                  <c:v>19.018999999999988</c:v>
                </c:pt>
                <c:pt idx="3">
                  <c:v>19.5045</c:v>
                </c:pt>
                <c:pt idx="4">
                  <c:v>19.37715000000001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8DA5-4D88-87A9-3770DE6463E1}"/>
            </c:ext>
          </c:extLst>
        </c:ser>
        <c:ser>
          <c:idx val="2"/>
          <c:order val="2"/>
          <c:tx>
            <c:strRef>
              <c:f>Лист1!$A$4</c:f>
              <c:strCache>
                <c:ptCount val="1"/>
                <c:pt idx="0">
                  <c:v>Падіння</c:v>
                </c:pt>
              </c:strCache>
            </c:strRef>
          </c:tx>
          <c:spPr>
            <a:ln w="41275" cap="rnd">
              <a:solidFill>
                <a:srgbClr val="FEEB35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FEEB35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c:spPr>
          </c:marker>
          <c:cat>
            <c:strRef>
              <c:f>Лист1!$B$1:$F$1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strCache>
            </c:strRef>
          </c:cat>
          <c:val>
            <c:numRef>
              <c:f>Лист1!$B$4:$F$4</c:f>
              <c:numCache>
                <c:formatCode>#,##0.0</c:formatCode>
                <c:ptCount val="5"/>
                <c:pt idx="0">
                  <c:v>18.545000000000002</c:v>
                </c:pt>
                <c:pt idx="1">
                  <c:v>16.148</c:v>
                </c:pt>
                <c:pt idx="2">
                  <c:v>14.757</c:v>
                </c:pt>
                <c:pt idx="3">
                  <c:v>13.419500000000006</c:v>
                </c:pt>
                <c:pt idx="4">
                  <c:v>12.1441499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8DA5-4D88-87A9-3770DE6463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291072"/>
        <c:axId val="74293248"/>
      </c:lineChart>
      <c:catAx>
        <c:axId val="74291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4293248"/>
        <c:crosses val="autoZero"/>
        <c:auto val="1"/>
        <c:lblAlgn val="ctr"/>
        <c:lblOffset val="100"/>
        <c:noMultiLvlLbl val="0"/>
      </c:catAx>
      <c:valAx>
        <c:axId val="74293248"/>
        <c:scaling>
          <c:orientation val="minMax"/>
          <c:max val="33"/>
          <c:min val="10"/>
        </c:scaling>
        <c:delete val="1"/>
        <c:axPos val="l"/>
        <c:numFmt formatCode="#,##0" sourceLinked="0"/>
        <c:majorTickMark val="out"/>
        <c:minorTickMark val="none"/>
        <c:tickLblPos val="none"/>
        <c:crossAx val="74291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r"/>
      <c:layout>
        <c:manualLayout>
          <c:xMode val="edge"/>
          <c:yMode val="edge"/>
          <c:x val="9.6709161944969188E-2"/>
          <c:y val="0.78682442847445844"/>
          <c:w val="0.42060835833055588"/>
          <c:h val="9.0879273583604717E-2"/>
        </c:manualLayout>
      </c:layout>
      <c:overlay val="1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24499693793318"/>
          <c:y val="4.4092323075214004E-2"/>
          <c:w val="0.55966487857465363"/>
          <c:h val="0.85055602898465199"/>
        </c:manualLayout>
      </c:layout>
      <c:areaChart>
        <c:grouping val="stack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Поточний видобуток</c:v>
                </c:pt>
              </c:strCache>
            </c:strRef>
          </c:tx>
          <c:spPr>
            <a:solidFill>
              <a:srgbClr val="5BAEE2"/>
            </a:solidFill>
            <a:ln w="12700">
              <a:solidFill>
                <a:schemeClr val="bg1">
                  <a:lumMod val="95000"/>
                </a:schemeClr>
              </a:solidFill>
            </a:ln>
            <a:effectLst/>
          </c:spPr>
          <c:cat>
            <c:strRef>
              <c:f>Лист1!$B$1:$F$1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strCache>
            </c:strRef>
          </c:cat>
          <c:val>
            <c:numRef>
              <c:f>Лист1!$B$2:$F$2</c:f>
              <c:numCache>
                <c:formatCode>#,##0.0</c:formatCode>
                <c:ptCount val="5"/>
                <c:pt idx="0">
                  <c:v>14.525</c:v>
                </c:pt>
                <c:pt idx="1">
                  <c:v>12.658000000000001</c:v>
                </c:pt>
                <c:pt idx="2">
                  <c:v>11.722</c:v>
                </c:pt>
                <c:pt idx="3">
                  <c:v>10.786</c:v>
                </c:pt>
                <c:pt idx="4">
                  <c:v>9.850000000000006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601-416B-A2B5-E955D4E5E14F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Додатковий видобуток з існуючих проектів</c:v>
                </c:pt>
              </c:strCache>
            </c:strRef>
          </c:tx>
          <c:spPr>
            <a:solidFill>
              <a:srgbClr val="E2E5EC"/>
            </a:solidFill>
            <a:ln w="12700">
              <a:solidFill>
                <a:schemeClr val="bg1">
                  <a:lumMod val="95000"/>
                </a:schemeClr>
              </a:solidFill>
            </a:ln>
            <a:effectLst/>
          </c:spPr>
          <c:cat>
            <c:strRef>
              <c:f>Лист1!$B$1:$F$1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strCache>
            </c:strRef>
          </c:cat>
          <c:val>
            <c:numRef>
              <c:f>Лист1!$B$3:$F$3</c:f>
              <c:numCache>
                <c:formatCode>#,##0.0</c:formatCode>
                <c:ptCount val="5"/>
                <c:pt idx="0">
                  <c:v>0</c:v>
                </c:pt>
                <c:pt idx="1">
                  <c:v>1.02</c:v>
                </c:pt>
                <c:pt idx="2">
                  <c:v>2.1419999999999999</c:v>
                </c:pt>
                <c:pt idx="3">
                  <c:v>3.2949999999999999</c:v>
                </c:pt>
                <c:pt idx="4">
                  <c:v>4.44300000000000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601-416B-A2B5-E955D4E5E14F}"/>
            </c:ext>
          </c:extLst>
        </c:ser>
        <c:ser>
          <c:idx val="2"/>
          <c:order val="2"/>
          <c:tx>
            <c:strRef>
              <c:f>Лист1!$A$4</c:f>
              <c:strCache>
                <c:ptCount val="1"/>
                <c:pt idx="0">
                  <c:v>Видобуток з нових проектів</c:v>
                </c:pt>
              </c:strCache>
            </c:strRef>
          </c:tx>
          <c:spPr>
            <a:solidFill>
              <a:srgbClr val="B7DEF7"/>
            </a:solidFill>
            <a:ln w="12700">
              <a:solidFill>
                <a:schemeClr val="bg1">
                  <a:lumMod val="95000"/>
                </a:schemeClr>
              </a:solidFill>
            </a:ln>
            <a:effectLst/>
          </c:spPr>
          <c:cat>
            <c:strRef>
              <c:f>Лист1!$B$1:$F$1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strCache>
            </c:strRef>
          </c:cat>
          <c:val>
            <c:numRef>
              <c:f>Лист1!$B$4:$F$4</c:f>
              <c:numCache>
                <c:formatCode>#,##0.0</c:formatCode>
                <c:ptCount val="5"/>
                <c:pt idx="0">
                  <c:v>0</c:v>
                </c:pt>
                <c:pt idx="1">
                  <c:v>0.88000000000000012</c:v>
                </c:pt>
                <c:pt idx="2">
                  <c:v>1.4209999999999989</c:v>
                </c:pt>
                <c:pt idx="3">
                  <c:v>1.9750000000000001</c:v>
                </c:pt>
                <c:pt idx="4">
                  <c:v>2.344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601-416B-A2B5-E955D4E5E14F}"/>
            </c:ext>
          </c:extLst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Нетрадиційний газ</c:v>
                </c:pt>
              </c:strCache>
            </c:strRef>
          </c:tx>
          <c:spPr>
            <a:solidFill>
              <a:srgbClr val="FDF083"/>
            </a:solidFill>
            <a:ln w="12700">
              <a:solidFill>
                <a:schemeClr val="bg1">
                  <a:lumMod val="95000"/>
                </a:schemeClr>
              </a:solidFill>
            </a:ln>
            <a:effectLst/>
          </c:spPr>
          <c:cat>
            <c:strRef>
              <c:f>Лист1!$B$1:$F$1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strCache>
            </c:strRef>
          </c:cat>
          <c:val>
            <c:numRef>
              <c:f>Лист1!$B$5:$F$5</c:f>
              <c:numCache>
                <c:formatCode>#,##0.0</c:formatCode>
                <c:ptCount val="5"/>
                <c:pt idx="0">
                  <c:v>0</c:v>
                </c:pt>
                <c:pt idx="1">
                  <c:v>0.22</c:v>
                </c:pt>
                <c:pt idx="2">
                  <c:v>1.24</c:v>
                </c:pt>
                <c:pt idx="3">
                  <c:v>2.3099999999999987</c:v>
                </c:pt>
                <c:pt idx="4">
                  <c:v>3.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601-416B-A2B5-E955D4E5E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159552"/>
        <c:axId val="89161088"/>
      </c:areaChart>
      <c:catAx>
        <c:axId val="891595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Elektra Light Pro" panose="02000503030000020004"/>
                <a:ea typeface="+mn-ea"/>
                <a:cs typeface="+mn-cs"/>
              </a:defRPr>
            </a:pPr>
            <a:endParaRPr lang="ru-RU"/>
          </a:p>
        </c:txPr>
        <c:crossAx val="89161088"/>
        <c:crosses val="autoZero"/>
        <c:auto val="1"/>
        <c:lblAlgn val="ctr"/>
        <c:lblOffset val="100"/>
        <c:noMultiLvlLbl val="0"/>
      </c:catAx>
      <c:valAx>
        <c:axId val="89161088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Elektra Light Pro" panose="02000503030000020004"/>
                <a:ea typeface="+mn-ea"/>
                <a:cs typeface="+mn-cs"/>
              </a:defRPr>
            </a:pPr>
            <a:endParaRPr lang="ru-RU"/>
          </a:p>
        </c:txPr>
        <c:crossAx val="8915955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15418389546716"/>
          <c:y val="0.11166571265976157"/>
          <c:w val="0.28368204613275738"/>
          <c:h val="0.785899266002722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800">
          <a:latin typeface="Elektra Light Pro" panose="02000503030000020004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24499693793318"/>
          <c:y val="4.4092323075214004E-2"/>
          <c:w val="0.5583436283054386"/>
          <c:h val="0.85055602898465199"/>
        </c:manualLayout>
      </c:layout>
      <c:areaChart>
        <c:grouping val="stack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Поточний видобуток</c:v>
                </c:pt>
              </c:strCache>
            </c:strRef>
          </c:tx>
          <c:spPr>
            <a:solidFill>
              <a:srgbClr val="5BAEE2"/>
            </a:solidFill>
            <a:ln w="12700">
              <a:solidFill>
                <a:schemeClr val="bg1">
                  <a:lumMod val="95000"/>
                </a:schemeClr>
              </a:solidFill>
            </a:ln>
            <a:effectLst/>
          </c:spPr>
          <c:cat>
            <c:strRef>
              <c:f>Лист1!$B$1:$F$1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strCache>
            </c:strRef>
          </c:cat>
          <c:val>
            <c:numRef>
              <c:f>Лист1!$B$2:$F$2</c:f>
              <c:numCache>
                <c:formatCode>#,##0.0</c:formatCode>
                <c:ptCount val="5"/>
                <c:pt idx="0">
                  <c:v>2.52</c:v>
                </c:pt>
                <c:pt idx="1">
                  <c:v>2.14</c:v>
                </c:pt>
                <c:pt idx="2">
                  <c:v>1.82</c:v>
                </c:pt>
                <c:pt idx="3">
                  <c:v>1.54</c:v>
                </c:pt>
                <c:pt idx="4">
                  <c:v>1.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C26-48FF-87D7-25E7E563095B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Додатковий видобуток з існуючих проектів</c:v>
                </c:pt>
              </c:strCache>
            </c:strRef>
          </c:tx>
          <c:spPr>
            <a:solidFill>
              <a:srgbClr val="E2E5EC"/>
            </a:solidFill>
            <a:ln w="12700">
              <a:solidFill>
                <a:schemeClr val="bg1">
                  <a:lumMod val="95000"/>
                </a:schemeClr>
              </a:solidFill>
            </a:ln>
            <a:effectLst/>
          </c:spPr>
          <c:cat>
            <c:strRef>
              <c:f>Лист1!$B$1:$F$1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strCache>
            </c:strRef>
          </c:cat>
          <c:val>
            <c:numRef>
              <c:f>Лист1!$B$3:$F$3</c:f>
              <c:numCache>
                <c:formatCode>#,##0.0</c:formatCode>
                <c:ptCount val="5"/>
                <c:pt idx="0">
                  <c:v>0.74000000000000055</c:v>
                </c:pt>
                <c:pt idx="1">
                  <c:v>1.44</c:v>
                </c:pt>
                <c:pt idx="2">
                  <c:v>2.12</c:v>
                </c:pt>
                <c:pt idx="3">
                  <c:v>2.9</c:v>
                </c:pt>
                <c:pt idx="4">
                  <c:v>3.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C26-48FF-87D7-25E7E563095B}"/>
            </c:ext>
          </c:extLst>
        </c:ser>
        <c:ser>
          <c:idx val="2"/>
          <c:order val="2"/>
          <c:tx>
            <c:strRef>
              <c:f>Лист1!$A$4</c:f>
              <c:strCache>
                <c:ptCount val="1"/>
                <c:pt idx="0">
                  <c:v>Видобуток з нових проектів</c:v>
                </c:pt>
              </c:strCache>
            </c:strRef>
          </c:tx>
          <c:spPr>
            <a:solidFill>
              <a:srgbClr val="B7DEF7"/>
            </a:solidFill>
            <a:ln w="12700">
              <a:solidFill>
                <a:schemeClr val="bg1">
                  <a:lumMod val="95000"/>
                </a:schemeClr>
              </a:solidFill>
            </a:ln>
            <a:effectLst/>
          </c:spPr>
          <c:cat>
            <c:strRef>
              <c:f>Лист1!$B$1:$F$1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strCache>
            </c:strRef>
          </c:cat>
          <c:val>
            <c:numRef>
              <c:f>Лист1!$B$4:$F$4</c:f>
              <c:numCache>
                <c:formatCode>#,##0.0</c:formatCode>
                <c:ptCount val="5"/>
                <c:pt idx="0">
                  <c:v>0.43000000000000027</c:v>
                </c:pt>
                <c:pt idx="1">
                  <c:v>0.86000000000000054</c:v>
                </c:pt>
                <c:pt idx="2">
                  <c:v>1.29</c:v>
                </c:pt>
                <c:pt idx="3">
                  <c:v>1.72</c:v>
                </c:pt>
                <c:pt idx="4">
                  <c:v>2.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C26-48FF-87D7-25E7E563095B}"/>
            </c:ext>
          </c:extLst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Нетрадиційний газ</c:v>
                </c:pt>
              </c:strCache>
            </c:strRef>
          </c:tx>
          <c:spPr>
            <a:solidFill>
              <a:srgbClr val="FDF083"/>
            </a:solidFill>
            <a:ln w="12700">
              <a:solidFill>
                <a:schemeClr val="bg1">
                  <a:lumMod val="95000"/>
                </a:schemeClr>
              </a:solidFill>
            </a:ln>
            <a:effectLst/>
          </c:spPr>
          <c:cat>
            <c:strRef>
              <c:f>Лист1!$B$1:$F$1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strCache>
            </c:strRef>
          </c:cat>
          <c:val>
            <c:numRef>
              <c:f>Лист1!$B$5:$F$5</c:f>
              <c:numCache>
                <c:formatCode>#,##0.0</c:formatCode>
                <c:ptCount val="5"/>
                <c:pt idx="0">
                  <c:v>0</c:v>
                </c:pt>
                <c:pt idx="1">
                  <c:v>0.1</c:v>
                </c:pt>
                <c:pt idx="2">
                  <c:v>0.2</c:v>
                </c:pt>
                <c:pt idx="3">
                  <c:v>0.29000000000000026</c:v>
                </c:pt>
                <c:pt idx="4">
                  <c:v>0.390000000000000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C26-48FF-87D7-25E7E56309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714432"/>
        <c:axId val="45724416"/>
      </c:areaChart>
      <c:catAx>
        <c:axId val="457144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Elektra Light Pro" panose="02000503030000020004"/>
                <a:ea typeface="+mn-ea"/>
                <a:cs typeface="+mn-cs"/>
              </a:defRPr>
            </a:pPr>
            <a:endParaRPr lang="ru-RU"/>
          </a:p>
        </c:txPr>
        <c:crossAx val="45724416"/>
        <c:crosses val="autoZero"/>
        <c:auto val="1"/>
        <c:lblAlgn val="ctr"/>
        <c:lblOffset val="100"/>
        <c:noMultiLvlLbl val="0"/>
      </c:catAx>
      <c:valAx>
        <c:axId val="45724416"/>
        <c:scaling>
          <c:orientation val="minMax"/>
          <c:max val="7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Elektra Light Pro" panose="02000503030000020004"/>
                <a:ea typeface="+mn-ea"/>
                <a:cs typeface="+mn-cs"/>
              </a:defRPr>
            </a:pPr>
            <a:endParaRPr lang="ru-RU"/>
          </a:p>
        </c:txPr>
        <c:crossAx val="4571443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800">
          <a:latin typeface="Elektra Light Pro" panose="02000503030000020004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639743502733328E-2"/>
          <c:y val="2.8124999999999987E-2"/>
          <c:w val="0.96176951588220738"/>
          <c:h val="0.74829528158295278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% ставка 2014</c:v>
                </c:pt>
              </c:strCache>
            </c:strRef>
          </c:tx>
          <c:spPr>
            <a:solidFill>
              <a:srgbClr val="B7DEF7"/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7</c:f>
              <c:strCache>
                <c:ptCount val="16"/>
                <c:pt idx="0">
                  <c:v>Польща</c:v>
                </c:pt>
                <c:pt idx="1">
                  <c:v>Франція</c:v>
                </c:pt>
                <c:pt idx="2">
                  <c:v>Болгарія</c:v>
                </c:pt>
                <c:pt idx="3">
                  <c:v>Литва</c:v>
                </c:pt>
                <c:pt idx="4">
                  <c:v>Турція</c:v>
                </c:pt>
                <c:pt idx="5">
                  <c:v>Румунія</c:v>
                </c:pt>
                <c:pt idx="6">
                  <c:v>Іспанія</c:v>
                </c:pt>
                <c:pt idx="7">
                  <c:v>Нідерл. (малі)</c:v>
                </c:pt>
                <c:pt idx="8">
                  <c:v>Ірландія</c:v>
                </c:pt>
                <c:pt idx="9">
                  <c:v>Чехія</c:v>
                </c:pt>
                <c:pt idx="10">
                  <c:v>Великобрит.</c:v>
                </c:pt>
                <c:pt idx="11">
                  <c:v>Хорватія</c:v>
                </c:pt>
                <c:pt idx="12">
                  <c:v>Італія</c:v>
                </c:pt>
                <c:pt idx="13">
                  <c:v>Норвегія</c:v>
                </c:pt>
                <c:pt idx="14">
                  <c:v>Угорщина</c:v>
                </c:pt>
                <c:pt idx="15">
                  <c:v>Гронінген</c:v>
                </c:pt>
              </c:strCache>
            </c:strRef>
          </c:cat>
          <c:val>
            <c:numRef>
              <c:f>Лист1!$B$2:$B$17</c:f>
              <c:numCache>
                <c:formatCode>#,##0.0</c:formatCode>
                <c:ptCount val="16"/>
                <c:pt idx="0">
                  <c:v>0.70000000000000062</c:v>
                </c:pt>
                <c:pt idx="1">
                  <c:v>6.6</c:v>
                </c:pt>
                <c:pt idx="2">
                  <c:v>7.7</c:v>
                </c:pt>
                <c:pt idx="3">
                  <c:v>9.9</c:v>
                </c:pt>
                <c:pt idx="4">
                  <c:v>12.5</c:v>
                </c:pt>
                <c:pt idx="5">
                  <c:v>15</c:v>
                </c:pt>
                <c:pt idx="6">
                  <c:v>2.2000000000000002</c:v>
                </c:pt>
                <c:pt idx="7">
                  <c:v>4.0999999999999996</c:v>
                </c:pt>
                <c:pt idx="8">
                  <c:v>4.0999999999999996</c:v>
                </c:pt>
                <c:pt idx="9">
                  <c:v>5</c:v>
                </c:pt>
                <c:pt idx="10">
                  <c:v>6</c:v>
                </c:pt>
                <c:pt idx="11">
                  <c:v>10</c:v>
                </c:pt>
                <c:pt idx="12">
                  <c:v>11.7</c:v>
                </c:pt>
                <c:pt idx="13">
                  <c:v>18.8</c:v>
                </c:pt>
                <c:pt idx="14">
                  <c:v>22.9</c:v>
                </c:pt>
                <c:pt idx="15">
                  <c:v>69.900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4C0-489B-BAB1-C6313F6808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45758336"/>
        <c:axId val="45759872"/>
      </c:barChart>
      <c:catAx>
        <c:axId val="45758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 sz="1100"/>
            </a:pPr>
            <a:endParaRPr lang="ru-RU"/>
          </a:p>
        </c:txPr>
        <c:crossAx val="45759872"/>
        <c:crosses val="autoZero"/>
        <c:auto val="1"/>
        <c:lblAlgn val="ctr"/>
        <c:lblOffset val="100"/>
        <c:noMultiLvlLbl val="0"/>
      </c:catAx>
      <c:valAx>
        <c:axId val="45759872"/>
        <c:scaling>
          <c:orientation val="minMax"/>
          <c:max val="75"/>
        </c:scaling>
        <c:delete val="1"/>
        <c:axPos val="l"/>
        <c:numFmt formatCode="#,##0.0" sourceLinked="1"/>
        <c:majorTickMark val="out"/>
        <c:minorTickMark val="none"/>
        <c:tickLblPos val="none"/>
        <c:crossAx val="45758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10853764786353"/>
          <c:y val="5.3158295281582946E-2"/>
          <c:w val="0.79578292470427259"/>
          <c:h val="0.7407157534246585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% ставка 2014-215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Украіна 
(&gt;5 км)</c:v>
                </c:pt>
                <c:pt idx="1">
                  <c:v>Украіна 
(&lt;5 км)</c:v>
                </c:pt>
                <c:pt idx="2">
                  <c:v>Украіна 
(держ.)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8</c:v>
                </c:pt>
                <c:pt idx="1">
                  <c:v>55</c:v>
                </c:pt>
                <c:pt idx="2">
                  <c:v>7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878-44B4-81DA-3BD566FF274D}"/>
            </c:ext>
          </c:extLst>
        </c:ser>
        <c:ser>
          <c:idx val="3"/>
          <c:order val="1"/>
          <c:tx>
            <c:strRef>
              <c:f>Лист1!$C$1</c:f>
              <c:strCache>
                <c:ptCount val="1"/>
                <c:pt idx="0">
                  <c:v>% ставка 2016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Украіна 
(&gt;5 км)</c:v>
                </c:pt>
                <c:pt idx="1">
                  <c:v>Украіна 
(&lt;5 км)</c:v>
                </c:pt>
                <c:pt idx="2">
                  <c:v>Украіна 
(держ.)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4</c:v>
                </c:pt>
                <c:pt idx="1">
                  <c:v>29</c:v>
                </c:pt>
                <c:pt idx="2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878-44B4-81DA-3BD566FF27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46257280"/>
        <c:axId val="46258816"/>
      </c:barChart>
      <c:catAx>
        <c:axId val="46257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6258816"/>
        <c:crosses val="autoZero"/>
        <c:auto val="1"/>
        <c:lblAlgn val="ctr"/>
        <c:lblOffset val="100"/>
        <c:noMultiLvlLbl val="0"/>
      </c:catAx>
      <c:valAx>
        <c:axId val="46258816"/>
        <c:scaling>
          <c:orientation val="minMax"/>
          <c:max val="75"/>
        </c:scaling>
        <c:delete val="1"/>
        <c:axPos val="l"/>
        <c:numFmt formatCode="General" sourceLinked="1"/>
        <c:majorTickMark val="out"/>
        <c:minorTickMark val="none"/>
        <c:tickLblPos val="none"/>
        <c:crossAx val="46257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639743502733328E-2"/>
          <c:y val="2.8124999999999987E-2"/>
          <c:w val="0.96176951588220738"/>
          <c:h val="0.7482952815829527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CAPEX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&lt; 3500м,
0.5 млрд куб</c:v>
                </c:pt>
                <c:pt idx="1">
                  <c:v>&lt; 3500м,
2.8 млрд куб</c:v>
                </c:pt>
                <c:pt idx="2">
                  <c:v>&lt; 5000м,
0.5 млрд куб</c:v>
                </c:pt>
                <c:pt idx="3">
                  <c:v>&lt; 5000м,
2.8 млрд куб</c:v>
                </c:pt>
                <c:pt idx="4">
                  <c:v>&gt; 5000м,
2.8 млрд куб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105</c:v>
                </c:pt>
                <c:pt idx="1">
                  <c:v>87</c:v>
                </c:pt>
                <c:pt idx="2">
                  <c:v>127</c:v>
                </c:pt>
                <c:pt idx="3">
                  <c:v>111</c:v>
                </c:pt>
                <c:pt idx="4">
                  <c:v>1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FF1-4A86-AE90-15000113354C}"/>
            </c:ext>
          </c:extLst>
        </c:ser>
        <c:ser>
          <c:idx val="0"/>
          <c:order val="1"/>
          <c:tx>
            <c:strRef>
              <c:f>Лист1!$C$1</c:f>
              <c:strCache>
                <c:ptCount val="1"/>
                <c:pt idx="0">
                  <c:v>OPEX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&lt; 3500м,
0.5 млрд куб</c:v>
                </c:pt>
                <c:pt idx="1">
                  <c:v>&lt; 3500м,
2.8 млрд куб</c:v>
                </c:pt>
                <c:pt idx="2">
                  <c:v>&lt; 5000м,
0.5 млрд куб</c:v>
                </c:pt>
                <c:pt idx="3">
                  <c:v>&lt; 5000м,
2.8 млрд куб</c:v>
                </c:pt>
                <c:pt idx="4">
                  <c:v>&gt; 5000м,
2.8 млрд куб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8</c:v>
                </c:pt>
                <c:pt idx="1">
                  <c:v>31</c:v>
                </c:pt>
                <c:pt idx="2">
                  <c:v>46</c:v>
                </c:pt>
                <c:pt idx="3">
                  <c:v>39</c:v>
                </c:pt>
                <c:pt idx="4">
                  <c:v>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FF1-4A86-AE90-15000113354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Мінімальна дохідність на капітал</c:v>
                </c:pt>
              </c:strCache>
            </c:strRef>
          </c:tx>
          <c:invertIfNegative val="0"/>
          <c:dLbls>
            <c:dLbl>
              <c:idx val="2"/>
              <c:layout>
                <c:manualLayout>
                  <c:x val="2.9534801298228951E-3"/>
                  <c:y val="-1.22652816234210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&lt; 3500м,
0.5 млрд куб</c:v>
                </c:pt>
                <c:pt idx="1">
                  <c:v>&lt; 3500м,
2.8 млрд куб</c:v>
                </c:pt>
                <c:pt idx="2">
                  <c:v>&lt; 5000м,
0.5 млрд куб</c:v>
                </c:pt>
                <c:pt idx="3">
                  <c:v>&lt; 5000м,
2.8 млрд куб</c:v>
                </c:pt>
                <c:pt idx="4">
                  <c:v>&gt; 5000м,
2.8 млрд куб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21</c:v>
                </c:pt>
                <c:pt idx="1">
                  <c:v>17.400000000000002</c:v>
                </c:pt>
                <c:pt idx="2">
                  <c:v>25.400000000000002</c:v>
                </c:pt>
                <c:pt idx="3">
                  <c:v>22.200000000000003</c:v>
                </c:pt>
                <c:pt idx="4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FF1-4A86-AE90-15000113354C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Рента</c:v>
                </c:pt>
              </c:strCache>
            </c:strRef>
          </c:tx>
          <c:invertIfNegative val="0"/>
          <c:dLbls>
            <c:dLbl>
              <c:idx val="2"/>
              <c:layout>
                <c:manualLayout>
                  <c:x val="-5.4146510208313632E-17"/>
                  <c:y val="7.359168974052664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D20-47A0-9E00-DD7E77D70364}"/>
                </c:ext>
              </c:extLst>
            </c:dLbl>
            <c:dLbl>
              <c:idx val="5"/>
              <c:layout>
                <c:manualLayout>
                  <c:x val="-1.0829302041662724E-16"/>
                  <c:y val="2.45305632468421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C6B3-4B70-9BCC-00A3425DBF8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&lt; 3500м,
0.5 млрд куб</c:v>
                </c:pt>
                <c:pt idx="1">
                  <c:v>&lt; 3500м,
2.8 млрд куб</c:v>
                </c:pt>
                <c:pt idx="2">
                  <c:v>&lt; 5000м,
0.5 млрд куб</c:v>
                </c:pt>
                <c:pt idx="3">
                  <c:v>&lt; 5000м,
2.8 млрд куб</c:v>
                </c:pt>
                <c:pt idx="4">
                  <c:v>&gt; 5000м,
2.8 млрд куб</c:v>
                </c:pt>
              </c:strCache>
            </c:str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52.20000000000001</c:v>
                </c:pt>
                <c:pt idx="1">
                  <c:v>52.20000000000001</c:v>
                </c:pt>
                <c:pt idx="2">
                  <c:v>52.20000000000001</c:v>
                </c:pt>
                <c:pt idx="3">
                  <c:v>52.20000000000001</c:v>
                </c:pt>
                <c:pt idx="4">
                  <c:v>25.2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FF1-4A86-AE90-1500011335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25476224"/>
        <c:axId val="125494400"/>
      </c:barChart>
      <c:catAx>
        <c:axId val="125476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200"/>
            </a:pPr>
            <a:endParaRPr lang="ru-RU"/>
          </a:p>
        </c:txPr>
        <c:crossAx val="125494400"/>
        <c:crosses val="autoZero"/>
        <c:auto val="1"/>
        <c:lblAlgn val="ctr"/>
        <c:lblOffset val="100"/>
        <c:noMultiLvlLbl val="0"/>
      </c:catAx>
      <c:valAx>
        <c:axId val="125494400"/>
        <c:scaling>
          <c:orientation val="minMax"/>
          <c:max val="450"/>
        </c:scaling>
        <c:delete val="0"/>
        <c:axPos val="l"/>
        <c:numFmt formatCode="#,##0" sourceLinked="0"/>
        <c:majorTickMark val="out"/>
        <c:minorTickMark val="none"/>
        <c:tickLblPos val="nextTo"/>
        <c:crossAx val="125476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828836756734664"/>
          <c:y val="0.91045475221716698"/>
          <c:w val="0.64422552774271324"/>
          <c:h val="5.0296346587885565E-2"/>
        </c:manualLayout>
      </c:layout>
      <c:overlay val="0"/>
      <c:txPr>
        <a:bodyPr/>
        <a:lstStyle/>
        <a:p>
          <a:pPr>
            <a:defRPr sz="1200" b="1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580927384076991E-2"/>
          <c:y val="5.0925925925925986E-2"/>
          <c:w val="0.91675240594925556"/>
          <c:h val="0.84167468649752286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821696"/>
        <c:axId val="61823616"/>
      </c:lineChart>
      <c:dateAx>
        <c:axId val="61821696"/>
        <c:scaling>
          <c:orientation val="minMax"/>
        </c:scaling>
        <c:delete val="0"/>
        <c:axPos val="b"/>
        <c:numFmt formatCode="mm\.yy;@" sourceLinked="0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823616"/>
        <c:crosses val="autoZero"/>
        <c:auto val="0"/>
        <c:lblOffset val="100"/>
        <c:baseTimeUnit val="days"/>
        <c:majorUnit val="3"/>
        <c:majorTimeUnit val="months"/>
      </c:dateAx>
      <c:valAx>
        <c:axId val="61823616"/>
        <c:scaling>
          <c:orientation val="minMax"/>
          <c:min val="1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821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>
        <a:lumMod val="95000"/>
      </a:schemeClr>
    </a:solidFill>
    <a:ln>
      <a:solidFill>
        <a:schemeClr val="bg1"/>
      </a:solidFill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60F2A-2989-0B4E-8595-BA693DE5321F}" type="datetimeFigureOut">
              <a:rPr lang="ru-RU" smtClean="0"/>
              <a:pPr/>
              <a:t>30.05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BB59D4-62AF-A248-BAF7-D6B1F936D62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039105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2A8040-18D8-4065-9C30-5FB05FD2BF2B}" type="datetimeFigureOut">
              <a:rPr lang="uk-UA" smtClean="0"/>
              <a:pPr/>
              <a:t>30.05.2016</a:t>
            </a:fld>
            <a:endParaRPr lang="uk-UA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текста</a:t>
            </a:r>
            <a:endParaRPr lang="uk-UA" dirty="0" smtClean="0"/>
          </a:p>
          <a:p>
            <a:pPr lvl="1"/>
            <a:r>
              <a:rPr lang="uk-UA" dirty="0" err="1" smtClean="0"/>
              <a:t>Второ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2"/>
            <a:r>
              <a:rPr lang="uk-UA" dirty="0" err="1" smtClean="0"/>
              <a:t>Трети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3"/>
            <a:r>
              <a:rPr lang="uk-UA" dirty="0" err="1" smtClean="0"/>
              <a:t>Четвер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4"/>
            <a:r>
              <a:rPr lang="uk-UA" dirty="0" err="1" smtClean="0"/>
              <a:t>Пя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0915D3-14FC-4A98-892B-C12E31913602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577092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0915D3-14FC-4A98-892B-C12E31913602}" type="slidenum">
              <a:rPr lang="uk-UA" smtClean="0"/>
              <a:pPr/>
              <a:t>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896380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0915D3-14FC-4A98-892B-C12E31913602}" type="slidenum">
              <a:rPr lang="uk-UA" smtClean="0"/>
              <a:pPr/>
              <a:t>10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436638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0915D3-14FC-4A98-892B-C12E31913602}" type="slidenum">
              <a:rPr lang="uk-UA" smtClean="0"/>
              <a:pPr/>
              <a:t>1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450353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0915D3-14FC-4A98-892B-C12E31913602}" type="slidenum">
              <a:rPr lang="uk-UA" smtClean="0"/>
              <a:pPr/>
              <a:t>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1353328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0915D3-14FC-4A98-892B-C12E31913602}" type="slidenum">
              <a:rPr lang="uk-UA" smtClean="0"/>
              <a:pPr/>
              <a:t>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8228185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0915D3-14FC-4A98-892B-C12E31913602}" type="slidenum">
              <a:rPr lang="uk-UA" smtClean="0"/>
              <a:pPr/>
              <a:t>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2370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0915D3-14FC-4A98-892B-C12E31913602}" type="slidenum">
              <a:rPr lang="uk-UA" smtClean="0"/>
              <a:pPr/>
              <a:t>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374740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0915D3-14FC-4A98-892B-C12E31913602}" type="slidenum">
              <a:rPr lang="uk-UA" smtClean="0"/>
              <a:pPr/>
              <a:t>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952603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0915D3-14FC-4A98-892B-C12E31913602}" type="slidenum">
              <a:rPr lang="uk-UA" smtClean="0"/>
              <a:pPr/>
              <a:t>7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353049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0915D3-14FC-4A98-892B-C12E31913602}" type="slidenum">
              <a:rPr lang="uk-UA" smtClean="0"/>
              <a:pPr/>
              <a:t>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08804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0915D3-14FC-4A98-892B-C12E31913602}" type="slidenum">
              <a:rPr lang="uk-UA" smtClean="0"/>
              <a:pPr/>
              <a:t>9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91565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716854"/>
            <a:ext cx="7772400" cy="1171703"/>
          </a:xfrm>
        </p:spPr>
        <p:txBody>
          <a:bodyPr/>
          <a:lstStyle/>
          <a:p>
            <a:r>
              <a:rPr lang="uk-UA" dirty="0" err="1" smtClean="0"/>
              <a:t>Образец</a:t>
            </a:r>
            <a:r>
              <a:rPr lang="uk-UA" dirty="0" smtClean="0"/>
              <a:t> заголовка</a:t>
            </a:r>
            <a:endParaRPr lang="uk-UA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43608" y="3895328"/>
            <a:ext cx="6400800" cy="6949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подзаголовка</a:t>
            </a:r>
            <a:endParaRPr lang="uk-UA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25154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45224"/>
            <a:ext cx="9144000" cy="141277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248930" y="1614241"/>
            <a:ext cx="2790156" cy="80664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5805264"/>
            <a:ext cx="959024" cy="9700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err="1" smtClean="0"/>
              <a:t>Образец</a:t>
            </a:r>
            <a:r>
              <a:rPr lang="uk-UA" dirty="0" smtClean="0"/>
              <a:t> заголовка</a:t>
            </a:r>
            <a:endParaRPr lang="uk-UA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текста</a:t>
            </a:r>
            <a:endParaRPr lang="uk-UA" dirty="0" smtClean="0"/>
          </a:p>
          <a:p>
            <a:pPr lvl="1"/>
            <a:r>
              <a:rPr lang="uk-UA" dirty="0" err="1" smtClean="0"/>
              <a:t>Второ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2"/>
            <a:r>
              <a:rPr lang="uk-UA" dirty="0" err="1" smtClean="0"/>
              <a:t>Трети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3"/>
            <a:r>
              <a:rPr lang="uk-UA" dirty="0" err="1" smtClean="0"/>
              <a:t>Четвер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4"/>
            <a:r>
              <a:rPr lang="uk-UA" dirty="0" err="1" smtClean="0"/>
              <a:t>Пя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15616" y="6309320"/>
            <a:ext cx="6840760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uk-UA" smtClean="0"/>
              <a:pPr/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err="1" smtClean="0"/>
              <a:t>Образец</a:t>
            </a:r>
            <a:r>
              <a:rPr lang="uk-UA" dirty="0" smtClean="0"/>
              <a:t> заголовка</a:t>
            </a:r>
            <a:endParaRPr lang="uk-UA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текста</a:t>
            </a:r>
            <a:endParaRPr lang="uk-UA" dirty="0" smtClean="0"/>
          </a:p>
          <a:p>
            <a:pPr lvl="1"/>
            <a:r>
              <a:rPr lang="uk-UA" dirty="0" err="1" smtClean="0"/>
              <a:t>Второ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2"/>
            <a:r>
              <a:rPr lang="uk-UA" dirty="0" err="1" smtClean="0"/>
              <a:t>Трети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3"/>
            <a:r>
              <a:rPr lang="uk-UA" dirty="0" err="1" smtClean="0"/>
              <a:t>Четвер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4"/>
            <a:r>
              <a:rPr lang="uk-UA" dirty="0" err="1" smtClean="0"/>
              <a:t>Пя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6165986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uk-UA" dirty="0" err="1" smtClean="0"/>
              <a:t>Образец</a:t>
            </a:r>
            <a:r>
              <a:rPr lang="uk-UA" dirty="0" smtClean="0"/>
              <a:t> заголовка</a:t>
            </a:r>
            <a:endParaRPr lang="uk-UA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текста</a:t>
            </a:r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uk-UA" smtClean="0"/>
              <a:pPr/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err="1" smtClean="0"/>
              <a:t>Образец</a:t>
            </a:r>
            <a:r>
              <a:rPr lang="uk-UA" dirty="0" smtClean="0"/>
              <a:t> заголовка</a:t>
            </a:r>
            <a:endParaRPr lang="uk-UA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текста</a:t>
            </a:r>
            <a:endParaRPr lang="uk-UA" dirty="0" smtClean="0"/>
          </a:p>
          <a:p>
            <a:pPr lvl="1"/>
            <a:r>
              <a:rPr lang="uk-UA" dirty="0" err="1" smtClean="0"/>
              <a:t>Второ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2"/>
            <a:r>
              <a:rPr lang="uk-UA" dirty="0" err="1" smtClean="0"/>
              <a:t>Трети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3"/>
            <a:r>
              <a:rPr lang="uk-UA" dirty="0" err="1" smtClean="0"/>
              <a:t>Четвер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4"/>
            <a:r>
              <a:rPr lang="uk-UA" dirty="0" err="1" smtClean="0"/>
              <a:t>Пя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текста</a:t>
            </a:r>
            <a:endParaRPr lang="uk-UA" dirty="0" smtClean="0"/>
          </a:p>
          <a:p>
            <a:pPr lvl="1"/>
            <a:r>
              <a:rPr lang="uk-UA" dirty="0" err="1" smtClean="0"/>
              <a:t>Второ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2"/>
            <a:r>
              <a:rPr lang="uk-UA" dirty="0" err="1" smtClean="0"/>
              <a:t>Трети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3"/>
            <a:r>
              <a:rPr lang="uk-UA" dirty="0" err="1" smtClean="0"/>
              <a:t>Четвер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4"/>
            <a:r>
              <a:rPr lang="uk-UA" dirty="0" err="1" smtClean="0"/>
              <a:t>Пя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uk-UA" smtClean="0"/>
              <a:pPr/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 dirty="0" err="1" smtClean="0"/>
              <a:t>Образец</a:t>
            </a:r>
            <a:r>
              <a:rPr lang="uk-UA" dirty="0" smtClean="0"/>
              <a:t> заголовка</a:t>
            </a:r>
            <a:endParaRPr lang="uk-UA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текста</a:t>
            </a:r>
            <a:endParaRPr lang="uk-UA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текста</a:t>
            </a:r>
            <a:endParaRPr lang="uk-UA" dirty="0" smtClean="0"/>
          </a:p>
          <a:p>
            <a:pPr lvl="1"/>
            <a:r>
              <a:rPr lang="uk-UA" dirty="0" err="1" smtClean="0"/>
              <a:t>Второ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2"/>
            <a:r>
              <a:rPr lang="uk-UA" dirty="0" err="1" smtClean="0"/>
              <a:t>Трети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3"/>
            <a:r>
              <a:rPr lang="uk-UA" dirty="0" err="1" smtClean="0"/>
              <a:t>Четвер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4"/>
            <a:r>
              <a:rPr lang="uk-UA" dirty="0" err="1" smtClean="0"/>
              <a:t>Пя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текста</a:t>
            </a:r>
            <a:endParaRPr lang="uk-UA" dirty="0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текста</a:t>
            </a:r>
            <a:endParaRPr lang="uk-UA" dirty="0" smtClean="0"/>
          </a:p>
          <a:p>
            <a:pPr lvl="1"/>
            <a:r>
              <a:rPr lang="uk-UA" dirty="0" err="1" smtClean="0"/>
              <a:t>Второ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2"/>
            <a:r>
              <a:rPr lang="uk-UA" dirty="0" err="1" smtClean="0"/>
              <a:t>Трети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3"/>
            <a:r>
              <a:rPr lang="uk-UA" dirty="0" err="1" smtClean="0"/>
              <a:t>Четвер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4"/>
            <a:r>
              <a:rPr lang="uk-UA" dirty="0" err="1" smtClean="0"/>
              <a:t>Пя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uk-UA" smtClean="0"/>
              <a:pPr/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err="1" smtClean="0"/>
              <a:t>Образец</a:t>
            </a:r>
            <a:r>
              <a:rPr lang="uk-UA" dirty="0" smtClean="0"/>
              <a:t> заголовка</a:t>
            </a:r>
            <a:endParaRPr lang="uk-UA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uk-UA" smtClean="0"/>
              <a:pPr/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uk-UA" smtClean="0"/>
              <a:pPr/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03264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3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83" b="22301"/>
          <a:stretch/>
        </p:blipFill>
        <p:spPr>
          <a:xfrm>
            <a:off x="936104" y="6358595"/>
            <a:ext cx="7380312" cy="4876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96" y="188640"/>
            <a:ext cx="1819616" cy="52605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0272" y="764704"/>
            <a:ext cx="2014728" cy="478536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107504" y="760984"/>
            <a:ext cx="8928992" cy="3720"/>
          </a:xfrm>
          <a:prstGeom prst="line">
            <a:avLst/>
          </a:prstGeom>
          <a:ln>
            <a:solidFill>
              <a:srgbClr val="5DADE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23728" y="274638"/>
            <a:ext cx="6563072" cy="440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uk-UA" dirty="0" err="1" smtClean="0"/>
              <a:t>Образец</a:t>
            </a:r>
            <a:r>
              <a:rPr lang="uk-UA" dirty="0" smtClean="0"/>
              <a:t> заголовка</a:t>
            </a:r>
            <a:endParaRPr lang="uk-UA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43240"/>
            <a:ext cx="8229600" cy="48829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 dirty="0" err="1" smtClean="0"/>
              <a:t>Образец</a:t>
            </a:r>
            <a:r>
              <a:rPr lang="uk-UA" dirty="0" smtClean="0"/>
              <a:t> </a:t>
            </a:r>
            <a:r>
              <a:rPr lang="uk-UA" dirty="0" err="1" smtClean="0"/>
              <a:t>текста</a:t>
            </a:r>
            <a:endParaRPr lang="uk-UA" dirty="0" smtClean="0"/>
          </a:p>
          <a:p>
            <a:pPr lvl="1"/>
            <a:r>
              <a:rPr lang="uk-UA" dirty="0" err="1" smtClean="0"/>
              <a:t>Второ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2"/>
            <a:r>
              <a:rPr lang="uk-UA" dirty="0" err="1" smtClean="0"/>
              <a:t>Трети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3"/>
            <a:r>
              <a:rPr lang="uk-UA" dirty="0" err="1" smtClean="0"/>
              <a:t>Четвер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 smtClean="0"/>
          </a:p>
          <a:p>
            <a:pPr lvl="4"/>
            <a:r>
              <a:rPr lang="uk-UA" dirty="0" err="1" smtClean="0"/>
              <a:t>Пятый</a:t>
            </a:r>
            <a:r>
              <a:rPr lang="uk-UA" dirty="0" smtClean="0"/>
              <a:t> </a:t>
            </a:r>
            <a:r>
              <a:rPr lang="uk-UA" dirty="0" err="1" smtClean="0"/>
              <a:t>уровень</a:t>
            </a:r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60836" y="64393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uk-UA" smtClean="0"/>
              <a:pPr/>
              <a:t>‹#›</a:t>
            </a:fld>
            <a:endParaRPr lang="uk-U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1" r:id="rId4"/>
    <p:sldLayoutId id="2147483652" r:id="rId5"/>
    <p:sldLayoutId id="2147483653" r:id="rId6"/>
    <p:sldLayoutId id="2147483654" r:id="rId7"/>
    <p:sldLayoutId id="2147483655" r:id="rId8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6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8.jpeg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11.pn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12" Type="http://schemas.openxmlformats.org/officeDocument/2006/relationships/image" Target="../media/image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13.png"/><Relationship Id="rId10" Type="http://schemas.openxmlformats.org/officeDocument/2006/relationships/image" Target="../media/image32.jpeg"/><Relationship Id="rId4" Type="http://schemas.openxmlformats.org/officeDocument/2006/relationships/chart" Target="../charts/chart9.xml"/><Relationship Id="rId9" Type="http://schemas.openxmlformats.org/officeDocument/2006/relationships/image" Target="../media/image31.png"/><Relationship Id="rId1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12.png"/><Relationship Id="rId18" Type="http://schemas.openxmlformats.org/officeDocument/2006/relationships/chart" Target="../charts/chart1.xml"/><Relationship Id="rId3" Type="http://schemas.openxmlformats.org/officeDocument/2006/relationships/tags" Target="../tags/tag4.xml"/><Relationship Id="rId21" Type="http://schemas.openxmlformats.org/officeDocument/2006/relationships/image" Target="../media/image17.jpeg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11.png"/><Relationship Id="rId17" Type="http://schemas.openxmlformats.org/officeDocument/2006/relationships/image" Target="../media/image16.jpeg"/><Relationship Id="rId2" Type="http://schemas.openxmlformats.org/officeDocument/2006/relationships/tags" Target="../tags/tag3.xml"/><Relationship Id="rId16" Type="http://schemas.openxmlformats.org/officeDocument/2006/relationships/image" Target="../media/image15.jpeg"/><Relationship Id="rId20" Type="http://schemas.openxmlformats.org/officeDocument/2006/relationships/chart" Target="../charts/chart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image" Target="../media/image1.emf"/><Relationship Id="rId5" Type="http://schemas.openxmlformats.org/officeDocument/2006/relationships/tags" Target="../tags/tag6.xml"/><Relationship Id="rId15" Type="http://schemas.openxmlformats.org/officeDocument/2006/relationships/image" Target="../media/image14.gif"/><Relationship Id="rId10" Type="http://schemas.openxmlformats.org/officeDocument/2006/relationships/oleObject" Target="../embeddings/oleObject2.bin"/><Relationship Id="rId19" Type="http://schemas.openxmlformats.org/officeDocument/2006/relationships/chart" Target="../charts/chart2.xml"/><Relationship Id="rId4" Type="http://schemas.openxmlformats.org/officeDocument/2006/relationships/tags" Target="../tags/tag5.xml"/><Relationship Id="rId9" Type="http://schemas.openxmlformats.org/officeDocument/2006/relationships/image" Target="../media/image10.jpeg"/><Relationship Id="rId1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8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jpeg"/><Relationship Id="rId5" Type="http://schemas.openxmlformats.org/officeDocument/2006/relationships/chart" Target="../charts/chart5.xml"/><Relationship Id="rId4" Type="http://schemas.openxmlformats.org/officeDocument/2006/relationships/chart" Target="../charts/chart4.xml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9.jpeg"/><Relationship Id="rId5" Type="http://schemas.openxmlformats.org/officeDocument/2006/relationships/image" Target="../media/image10.jpeg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jpeg"/><Relationship Id="rId12" Type="http://schemas.openxmlformats.org/officeDocument/2006/relationships/chart" Target="../charts/char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chart" Target="../charts/chart6.xml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chart" Target="../charts/chart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13" Type="http://schemas.openxmlformats.org/officeDocument/2006/relationships/image" Target="../media/image12.png"/><Relationship Id="rId18" Type="http://schemas.openxmlformats.org/officeDocument/2006/relationships/image" Target="../media/image23.gif"/><Relationship Id="rId3" Type="http://schemas.openxmlformats.org/officeDocument/2006/relationships/tags" Target="../tags/tag11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11.png"/><Relationship Id="rId17" Type="http://schemas.openxmlformats.org/officeDocument/2006/relationships/image" Target="../media/image22.png"/><Relationship Id="rId2" Type="http://schemas.openxmlformats.org/officeDocument/2006/relationships/tags" Target="../tags/tag10.xml"/><Relationship Id="rId16" Type="http://schemas.openxmlformats.org/officeDocument/2006/relationships/image" Target="../media/image21.jpeg"/><Relationship Id="rId1" Type="http://schemas.openxmlformats.org/officeDocument/2006/relationships/vmlDrawing" Target="../drawings/vmlDrawing5.vml"/><Relationship Id="rId6" Type="http://schemas.openxmlformats.org/officeDocument/2006/relationships/tags" Target="../tags/tag14.xml"/><Relationship Id="rId11" Type="http://schemas.openxmlformats.org/officeDocument/2006/relationships/image" Target="../media/image1.emf"/><Relationship Id="rId5" Type="http://schemas.openxmlformats.org/officeDocument/2006/relationships/tags" Target="../tags/tag13.xml"/><Relationship Id="rId15" Type="http://schemas.openxmlformats.org/officeDocument/2006/relationships/image" Target="../media/image20.png"/><Relationship Id="rId10" Type="http://schemas.openxmlformats.org/officeDocument/2006/relationships/oleObject" Target="../embeddings/oleObject5.bin"/><Relationship Id="rId4" Type="http://schemas.openxmlformats.org/officeDocument/2006/relationships/tags" Target="../tags/tag12.xml"/><Relationship Id="rId9" Type="http://schemas.openxmlformats.org/officeDocument/2006/relationships/image" Target="../media/image10.jpeg"/><Relationship Id="rId1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6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6.bin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4.jpeg"/><Relationship Id="rId11" Type="http://schemas.openxmlformats.org/officeDocument/2006/relationships/image" Target="../media/image13.png"/><Relationship Id="rId5" Type="http://schemas.openxmlformats.org/officeDocument/2006/relationships/image" Target="../media/image10.jpeg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7010400" y="6438900"/>
            <a:ext cx="2133600" cy="365125"/>
          </a:xfrm>
        </p:spPr>
        <p:txBody>
          <a:bodyPr/>
          <a:lstStyle/>
          <a:p>
            <a:fld id="{725C68B6-61C2-468F-89AB-4B9F7531AA68}" type="slidenum">
              <a:rPr lang="uk-UA" smtClean="0"/>
              <a:pPr/>
              <a:t>1</a:t>
            </a:fld>
            <a:endParaRPr lang="uk-UA" dirty="0"/>
          </a:p>
        </p:txBody>
      </p:sp>
      <p:sp>
        <p:nvSpPr>
          <p:cNvPr id="9" name="Содержимое 2"/>
          <p:cNvSpPr txBox="1">
            <a:spLocks/>
          </p:cNvSpPr>
          <p:nvPr/>
        </p:nvSpPr>
        <p:spPr>
          <a:xfrm>
            <a:off x="395536" y="5661248"/>
            <a:ext cx="8435280" cy="4582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uk-UA" sz="2000" dirty="0" smtClean="0">
                <a:solidFill>
                  <a:schemeClr val="bg1"/>
                </a:solidFill>
                <a:latin typeface="+mj-lt"/>
              </a:rPr>
              <a:t>www.vega-broker.com.ua</a:t>
            </a:r>
            <a:endParaRPr lang="uk-UA" sz="2400" dirty="0">
              <a:latin typeface="+mj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25154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45224"/>
            <a:ext cx="9144000" cy="141277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5805264"/>
            <a:ext cx="959024" cy="97004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043608" y="5065439"/>
            <a:ext cx="7200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26 травня 2016 р. </a:t>
            </a:r>
            <a:endParaRPr lang="uk-UA" sz="14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477012"/>
            <a:ext cx="5156448" cy="1536411"/>
          </a:xfrm>
          <a:prstGeom prst="rect">
            <a:avLst/>
          </a:prstGeom>
        </p:spPr>
      </p:pic>
      <p:sp>
        <p:nvSpPr>
          <p:cNvPr id="14" name="Заголовок 2"/>
          <p:cNvSpPr txBox="1">
            <a:spLocks/>
          </p:cNvSpPr>
          <p:nvPr/>
        </p:nvSpPr>
        <p:spPr>
          <a:xfrm>
            <a:off x="0" y="3411612"/>
            <a:ext cx="9144000" cy="11717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2800" b="1" dirty="0" smtClean="0">
                <a:solidFill>
                  <a:schemeClr val="tx2">
                    <a:lumMod val="75000"/>
                  </a:schemeClr>
                </a:solidFill>
              </a:rPr>
              <a:t>   МАЙБУТНЄ ВІТЧИЗНЯНОЇ ГАЗОВИДОБУВНОЇ ГАЛУЗІ</a:t>
            </a:r>
          </a:p>
          <a:p>
            <a:endParaRPr lang="uk-UA" sz="28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265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5"/>
          <p:cNvSpPr txBox="1">
            <a:spLocks/>
          </p:cNvSpPr>
          <p:nvPr/>
        </p:nvSpPr>
        <p:spPr>
          <a:xfrm>
            <a:off x="6962447" y="641501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10</a:t>
            </a:r>
            <a:endParaRPr lang="uk-UA" dirty="0"/>
          </a:p>
        </p:txBody>
      </p:sp>
      <p:sp>
        <p:nvSpPr>
          <p:cNvPr id="8" name="Номер слайда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69160"/>
            <a:ext cx="9144000" cy="141277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5229200"/>
            <a:ext cx="959024" cy="970047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6924454" y="576954"/>
            <a:ext cx="2113804" cy="663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43"/>
            <a:ext cx="9144000" cy="875021"/>
          </a:xfrm>
          <a:prstGeom prst="rect">
            <a:avLst/>
          </a:prstGeom>
          <a:ln>
            <a:noFill/>
          </a:ln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0"/>
            <a:ext cx="1914086" cy="638751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481427"/>
            <a:ext cx="1061964" cy="40184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16" y="188640"/>
            <a:ext cx="1709012" cy="50890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5426" y="2263161"/>
            <a:ext cx="3653148" cy="2605999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2082908" y="1412776"/>
            <a:ext cx="51541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36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ДЯКУЮ ЗА УВАГУ!</a:t>
            </a:r>
            <a:endParaRPr lang="uk-UA" sz="3600" b="1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1366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1656" y="1008378"/>
            <a:ext cx="6533174" cy="3951969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uk-UA" smtClean="0"/>
              <a:pPr/>
              <a:t>11</a:t>
            </a:fld>
            <a:endParaRPr lang="uk-UA" dirty="0"/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6700638"/>
              </p:ext>
            </p:extLst>
          </p:nvPr>
        </p:nvGraphicFramePr>
        <p:xfrm>
          <a:off x="303755" y="5138765"/>
          <a:ext cx="8536490" cy="1411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6360" y="6001177"/>
            <a:ext cx="991344" cy="427998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81715" y="5153724"/>
            <a:ext cx="1079925" cy="937124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2646" r="10738" b="21207"/>
          <a:stretch/>
        </p:blipFill>
        <p:spPr>
          <a:xfrm>
            <a:off x="7728856" y="5844366"/>
            <a:ext cx="597560" cy="614539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97753" y="5211641"/>
            <a:ext cx="1170591" cy="544325"/>
          </a:xfrm>
          <a:prstGeom prst="rect">
            <a:avLst/>
          </a:prstGeom>
        </p:spPr>
      </p:pic>
      <p:pic>
        <p:nvPicPr>
          <p:cNvPr id="23" name="Picture 2" descr="UGP_tm_ukr_l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5149" y="5260998"/>
            <a:ext cx="1097567" cy="445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http://kub-gas.com.ua/LOGO.JPG?05922f9a7699749d2ccbf3b6c101915f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AFA"/>
              </a:clrFrom>
              <a:clrTo>
                <a:srgbClr val="FF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2525" y="6040636"/>
            <a:ext cx="790248" cy="388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358260" y="6090848"/>
            <a:ext cx="1097430" cy="359957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6910276" y="579704"/>
            <a:ext cx="2113804" cy="612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935"/>
            <a:ext cx="9144000" cy="875021"/>
          </a:xfrm>
          <a:prstGeom prst="rect">
            <a:avLst/>
          </a:prstGeom>
        </p:spPr>
      </p:pic>
      <p:sp>
        <p:nvSpPr>
          <p:cNvPr id="38" name="Заголовок 2"/>
          <p:cNvSpPr txBox="1">
            <a:spLocks/>
          </p:cNvSpPr>
          <p:nvPr/>
        </p:nvSpPr>
        <p:spPr>
          <a:xfrm>
            <a:off x="2408731" y="186118"/>
            <a:ext cx="6563072" cy="59089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uk-UA" sz="2800" b="1" dirty="0" smtClean="0"/>
              <a:t>ДОВІДКОВО: АСОЦІАЦІЯ В ЦИФРАХ</a:t>
            </a: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0"/>
            <a:ext cx="1914086" cy="638751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457001"/>
            <a:ext cx="1061964" cy="401840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16" y="188640"/>
            <a:ext cx="1709012" cy="508906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5864444" y="1515676"/>
            <a:ext cx="2121715" cy="9848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</a:lstStyle>
          <a:p>
            <a:r>
              <a:rPr lang="uk-UA" sz="4400" b="1" dirty="0"/>
              <a:t>88% </a:t>
            </a:r>
            <a:endParaRPr lang="uk-UA" sz="4400" b="1" dirty="0" smtClean="0"/>
          </a:p>
          <a:p>
            <a:r>
              <a:rPr lang="uk-UA" sz="1400" b="1" dirty="0" smtClean="0"/>
              <a:t>видобутку газу в </a:t>
            </a:r>
            <a:r>
              <a:rPr lang="uk-UA" sz="1400" b="1" dirty="0"/>
              <a:t>Україні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184057" y="3138620"/>
            <a:ext cx="2588657" cy="984885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</a:lstStyle>
          <a:p>
            <a:r>
              <a:rPr lang="uk-UA" sz="4400" b="1" dirty="0"/>
              <a:t>52% </a:t>
            </a:r>
            <a:endParaRPr lang="uk-UA" sz="4400" b="1" dirty="0" smtClean="0"/>
          </a:p>
          <a:p>
            <a:r>
              <a:rPr lang="uk-UA" sz="1400" b="1" dirty="0" smtClean="0"/>
              <a:t>покриття потреб у газі України</a:t>
            </a:r>
            <a:endParaRPr lang="uk-UA" sz="14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3311041" y="3861048"/>
            <a:ext cx="1507144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uk-UA" sz="4800" b="1" dirty="0" smtClean="0"/>
              <a:t>6% </a:t>
            </a:r>
          </a:p>
          <a:p>
            <a:pPr algn="r"/>
            <a:r>
              <a:rPr lang="uk-UA" b="1" dirty="0" smtClean="0"/>
              <a:t>ВВП УКРАЇНИ</a:t>
            </a:r>
            <a:endParaRPr lang="uk-UA" b="1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698269" y="1676226"/>
            <a:ext cx="1774781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uk-UA" sz="4400" b="1" dirty="0" smtClean="0"/>
              <a:t>4,5% </a:t>
            </a:r>
          </a:p>
          <a:p>
            <a:pPr algn="r"/>
            <a:r>
              <a:rPr lang="uk-UA" sz="1400" b="1" dirty="0" smtClean="0"/>
              <a:t>доходів державного</a:t>
            </a:r>
          </a:p>
          <a:p>
            <a:pPr algn="r"/>
            <a:r>
              <a:rPr lang="uk-UA" sz="1400" b="1" dirty="0" smtClean="0"/>
              <a:t>бюджету</a:t>
            </a:r>
            <a:endParaRPr lang="uk-UA" sz="1400" b="1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6099212" y="3138620"/>
            <a:ext cx="2577244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4400" b="1" dirty="0" smtClean="0"/>
              <a:t>22.8</a:t>
            </a:r>
            <a:r>
              <a:rPr lang="uk-UA" dirty="0" smtClean="0"/>
              <a:t> </a:t>
            </a:r>
            <a:r>
              <a:rPr lang="uk-UA" sz="1400" b="1" dirty="0" smtClean="0"/>
              <a:t>млрд грн </a:t>
            </a:r>
          </a:p>
          <a:p>
            <a:r>
              <a:rPr lang="uk-UA" sz="1400" b="1" dirty="0" smtClean="0"/>
              <a:t>сплачено податків у 2015 році</a:t>
            </a:r>
            <a:endParaRPr lang="uk-UA" sz="1400" b="1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4256067" y="906785"/>
            <a:ext cx="255274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400" b="1" dirty="0" smtClean="0"/>
              <a:t>25 </a:t>
            </a:r>
            <a:r>
              <a:rPr lang="uk-UA" sz="1400" b="1" dirty="0" smtClean="0"/>
              <a:t>тис. робочих місць</a:t>
            </a:r>
            <a:endParaRPr lang="uk-UA" sz="1400" b="1" dirty="0"/>
          </a:p>
        </p:txBody>
      </p:sp>
    </p:spTree>
    <p:extLst>
      <p:ext uri="{BB962C8B-B14F-4D97-AF65-F5344CB8AC3E}">
        <p14:creationId xmlns:p14="http://schemas.microsoft.com/office/powerpoint/2010/main" val="112328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7030196" y="764704"/>
            <a:ext cx="2113804" cy="612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-27384"/>
            <a:ext cx="9144000" cy="875021"/>
          </a:xfrm>
          <a:prstGeom prst="rect">
            <a:avLst/>
          </a:prstGeom>
        </p:spPr>
      </p:pic>
      <p:graphicFrame>
        <p:nvGraphicFramePr>
          <p:cNvPr id="68" name="Объект 6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301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Object 2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5"/>
          <p:cNvSpPr txBox="1">
            <a:spLocks/>
          </p:cNvSpPr>
          <p:nvPr/>
        </p:nvSpPr>
        <p:spPr>
          <a:xfrm>
            <a:off x="6935673" y="64075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2</a:t>
            </a:r>
            <a:endParaRPr lang="uk-UA" dirty="0"/>
          </a:p>
        </p:txBody>
      </p:sp>
      <p:sp>
        <p:nvSpPr>
          <p:cNvPr id="8" name="Номер слайда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11" name="TextBox 10"/>
          <p:cNvSpPr txBox="1"/>
          <p:nvPr/>
        </p:nvSpPr>
        <p:spPr>
          <a:xfrm>
            <a:off x="2483768" y="118373"/>
            <a:ext cx="2888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3600" dirty="0" smtClean="0"/>
              <a:t> </a:t>
            </a:r>
            <a:endParaRPr lang="uk-UA" sz="3600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146203" y="198072"/>
            <a:ext cx="6717012" cy="578937"/>
          </a:xfrm>
        </p:spPr>
        <p:txBody>
          <a:bodyPr/>
          <a:lstStyle/>
          <a:p>
            <a:pPr algn="l"/>
            <a:r>
              <a:rPr lang="uk-UA" sz="2200" b="1" dirty="0" smtClean="0"/>
              <a:t>ГАЛУЗЬ НА РОЗДОРІЖЖІ -  ЯКИЙ ВИБРАТИ ШЛЯХ</a:t>
            </a:r>
            <a:endParaRPr lang="uk-UA" sz="2200" b="1" dirty="0"/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9914" y="0"/>
            <a:ext cx="1914086" cy="638751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481427"/>
            <a:ext cx="1061964" cy="40184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16" y="188640"/>
            <a:ext cx="1709012" cy="508906"/>
          </a:xfrm>
          <a:prstGeom prst="rect">
            <a:avLst/>
          </a:prstGeom>
        </p:spPr>
      </p:pic>
      <p:grpSp>
        <p:nvGrpSpPr>
          <p:cNvPr id="2" name="Group 38"/>
          <p:cNvGrpSpPr/>
          <p:nvPr/>
        </p:nvGrpSpPr>
        <p:grpSpPr>
          <a:xfrm>
            <a:off x="414716" y="1232302"/>
            <a:ext cx="3724829" cy="523220"/>
            <a:chOff x="336679" y="3698448"/>
            <a:chExt cx="3724829" cy="523220"/>
          </a:xfrm>
        </p:grpSpPr>
        <p:sp>
          <p:nvSpPr>
            <p:cNvPr id="74" name="Прямоугольник 33"/>
            <p:cNvSpPr/>
            <p:nvPr/>
          </p:nvSpPr>
          <p:spPr>
            <a:xfrm>
              <a:off x="342362" y="3698448"/>
              <a:ext cx="371914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43993"/>
              <a:r>
                <a:rPr lang="ru-RU" sz="1400" b="1" dirty="0" smtClean="0">
                  <a:solidFill>
                    <a:srgbClr val="000000"/>
                  </a:solidFill>
                  <a:cs typeface="Arial"/>
                </a:rPr>
                <a:t>В</a:t>
              </a:r>
              <a:r>
                <a:rPr lang="uk-UA" sz="1400" b="1" dirty="0" smtClean="0">
                  <a:solidFill>
                    <a:srgbClr val="000000"/>
                  </a:solidFill>
                  <a:cs typeface="Arial"/>
                </a:rPr>
                <a:t>ІДПРАВНА ТОЧКА</a:t>
              </a:r>
            </a:p>
            <a:p>
              <a:pPr defTabSz="843993"/>
              <a:r>
                <a:rPr lang="uk-UA" sz="1400" dirty="0" smtClean="0">
                  <a:solidFill>
                    <a:srgbClr val="000000">
                      <a:lumMod val="50000"/>
                      <a:lumOff val="50000"/>
                    </a:srgbClr>
                  </a:solidFill>
                  <a:cs typeface="Arial"/>
                </a:rPr>
                <a:t>млрд. куб. м. власного видобутку</a:t>
              </a:r>
              <a:endParaRPr lang="uk-UA" sz="1400" baseline="30000" dirty="0">
                <a:solidFill>
                  <a:srgbClr val="000000">
                    <a:lumMod val="50000"/>
                    <a:lumOff val="50000"/>
                  </a:srgbClr>
                </a:solidFill>
                <a:cs typeface="Arial"/>
              </a:endParaRPr>
            </a:p>
          </p:txBody>
        </p:sp>
        <p:sp>
          <p:nvSpPr>
            <p:cNvPr id="75" name="Прямоугольник 45"/>
            <p:cNvSpPr/>
            <p:nvPr/>
          </p:nvSpPr>
          <p:spPr>
            <a:xfrm>
              <a:off x="336679" y="3790523"/>
              <a:ext cx="45719" cy="411480"/>
            </a:xfrm>
            <a:prstGeom prst="rect">
              <a:avLst/>
            </a:prstGeom>
            <a:solidFill>
              <a:srgbClr val="FEEB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dirty="0"/>
            </a:p>
          </p:txBody>
        </p:sp>
      </p:grpSp>
      <p:sp>
        <p:nvSpPr>
          <p:cNvPr id="76" name="Oval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00438" y="2636484"/>
            <a:ext cx="591242" cy="281088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90202" tIns="45101" rIns="90202" bIns="45101" anchor="ctr"/>
          <a:lstStyle/>
          <a:p>
            <a:pPr algn="ctr">
              <a:defRPr/>
            </a:pPr>
            <a:r>
              <a:rPr lang="en-US" sz="1569" kern="0" dirty="0" smtClean="0">
                <a:solidFill>
                  <a:srgbClr val="FFFFFF"/>
                </a:solidFill>
                <a:cs typeface="Arial"/>
              </a:rPr>
              <a:t>20</a:t>
            </a:r>
            <a:endParaRPr lang="uk-UA" sz="1569" kern="0" dirty="0">
              <a:solidFill>
                <a:srgbClr val="FFFFFF"/>
              </a:solidFill>
              <a:cs typeface="Arial"/>
            </a:endParaRPr>
          </a:p>
        </p:txBody>
      </p:sp>
      <p:grpSp>
        <p:nvGrpSpPr>
          <p:cNvPr id="4" name="Group 76"/>
          <p:cNvGrpSpPr/>
          <p:nvPr/>
        </p:nvGrpSpPr>
        <p:grpSpPr>
          <a:xfrm>
            <a:off x="395536" y="4653136"/>
            <a:ext cx="2636760" cy="1270683"/>
            <a:chOff x="613061" y="3783157"/>
            <a:chExt cx="3384376" cy="2160362"/>
          </a:xfrm>
        </p:grpSpPr>
        <p:pic>
          <p:nvPicPr>
            <p:cNvPr id="78" name="Picture 165" descr="http://cliparts.co/cliparts/pi5/85r/pi585rKyT.gif"/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99" t="36648" r="5109" b="22033"/>
            <a:stretch/>
          </p:blipFill>
          <p:spPr bwMode="auto">
            <a:xfrm>
              <a:off x="613061" y="4725144"/>
              <a:ext cx="3384376" cy="12183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972" t="7503" r="22508" b="9966"/>
            <a:stretch/>
          </p:blipFill>
          <p:spPr>
            <a:xfrm>
              <a:off x="1010789" y="3881348"/>
              <a:ext cx="648072" cy="1018399"/>
            </a:xfrm>
            <a:prstGeom prst="rect">
              <a:avLst/>
            </a:prstGeom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43" t="15393" r="31543" b="15393"/>
            <a:stretch/>
          </p:blipFill>
          <p:spPr>
            <a:xfrm>
              <a:off x="2971313" y="3783157"/>
              <a:ext cx="576064" cy="1080121"/>
            </a:xfrm>
            <a:prstGeom prst="rect">
              <a:avLst/>
            </a:prstGeom>
          </p:spPr>
        </p:pic>
      </p:grpSp>
      <p:graphicFrame>
        <p:nvGraphicFramePr>
          <p:cNvPr id="28" name="Диаграмма 64"/>
          <p:cNvGraphicFramePr/>
          <p:nvPr>
            <p:extLst>
              <p:ext uri="{D42A27DB-BD31-4B8C-83A1-F6EECF244321}">
                <p14:modId xmlns:p14="http://schemas.microsoft.com/office/powerpoint/2010/main" val="4156363326"/>
              </p:ext>
            </p:extLst>
          </p:nvPr>
        </p:nvGraphicFramePr>
        <p:xfrm>
          <a:off x="0" y="1844824"/>
          <a:ext cx="1043608" cy="2376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cxnSp>
        <p:nvCxnSpPr>
          <p:cNvPr id="30" name="Прямая соединительная линия 29"/>
          <p:cNvCxnSpPr>
            <a:stCxn id="76" idx="1"/>
          </p:cNvCxnSpPr>
          <p:nvPr/>
        </p:nvCxnSpPr>
        <p:spPr>
          <a:xfrm flipH="1" flipV="1">
            <a:off x="827586" y="2204864"/>
            <a:ext cx="359437" cy="472784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>
            <a:stCxn id="76" idx="3"/>
          </p:cNvCxnSpPr>
          <p:nvPr/>
        </p:nvCxnSpPr>
        <p:spPr>
          <a:xfrm flipH="1">
            <a:off x="827584" y="2876408"/>
            <a:ext cx="359439" cy="552592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90709" y="2780928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14.5</a:t>
            </a:r>
            <a:endParaRPr lang="ru-RU" sz="1200" dirty="0"/>
          </a:p>
        </p:txBody>
      </p:sp>
      <p:grpSp>
        <p:nvGrpSpPr>
          <p:cNvPr id="6" name="Группа 56"/>
          <p:cNvGrpSpPr/>
          <p:nvPr/>
        </p:nvGrpSpPr>
        <p:grpSpPr>
          <a:xfrm>
            <a:off x="7884368" y="1124744"/>
            <a:ext cx="1259632" cy="3528392"/>
            <a:chOff x="7884368" y="908720"/>
            <a:chExt cx="1259632" cy="3528392"/>
          </a:xfrm>
        </p:grpSpPr>
        <p:graphicFrame>
          <p:nvGraphicFramePr>
            <p:cNvPr id="43" name="Диаграмма 64"/>
            <p:cNvGraphicFramePr/>
            <p:nvPr>
              <p:extLst>
                <p:ext uri="{D42A27DB-BD31-4B8C-83A1-F6EECF244321}">
                  <p14:modId xmlns:p14="http://schemas.microsoft.com/office/powerpoint/2010/main" val="4156363326"/>
                </p:ext>
              </p:extLst>
            </p:nvPr>
          </p:nvGraphicFramePr>
          <p:xfrm>
            <a:off x="7884368" y="908720"/>
            <a:ext cx="1259632" cy="35283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sp>
          <p:nvSpPr>
            <p:cNvPr id="44" name="TextBox 43"/>
            <p:cNvSpPr txBox="1"/>
            <p:nvPr/>
          </p:nvSpPr>
          <p:spPr>
            <a:xfrm>
              <a:off x="8172400" y="2132856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20.0</a:t>
              </a:r>
              <a:endParaRPr lang="ru-RU" sz="1200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244409" y="1196752"/>
              <a:ext cx="268269" cy="19920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none" lIns="36000" tIns="7200" rIns="36000" bIns="7200" rtlCol="0" anchor="ctr">
              <a:spAutoFit/>
            </a:bodyPr>
            <a:lstStyle/>
            <a:p>
              <a:pPr algn="ctr"/>
              <a:r>
                <a:rPr lang="en-US" sz="1200" dirty="0" smtClean="0"/>
                <a:t>7.0</a:t>
              </a:r>
              <a:endParaRPr lang="ru-RU" sz="1200" dirty="0"/>
            </a:p>
          </p:txBody>
        </p:sp>
      </p:grpSp>
      <p:cxnSp>
        <p:nvCxnSpPr>
          <p:cNvPr id="46" name="Прямая соединительная линия 45"/>
          <p:cNvCxnSpPr>
            <a:endCxn id="71" idx="7"/>
          </p:cNvCxnSpPr>
          <p:nvPr/>
        </p:nvCxnSpPr>
        <p:spPr>
          <a:xfrm flipH="1" flipV="1">
            <a:off x="7516938" y="1176169"/>
            <a:ext cx="511446" cy="95754"/>
          </a:xfrm>
          <a:prstGeom prst="lin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>
            <a:endCxn id="71" idx="3"/>
          </p:cNvCxnSpPr>
          <p:nvPr/>
        </p:nvCxnSpPr>
        <p:spPr>
          <a:xfrm flipH="1" flipV="1">
            <a:off x="7157996" y="1385127"/>
            <a:ext cx="798380" cy="2047038"/>
          </a:xfrm>
          <a:prstGeom prst="lin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Группа 41"/>
          <p:cNvGrpSpPr/>
          <p:nvPr/>
        </p:nvGrpSpPr>
        <p:grpSpPr>
          <a:xfrm>
            <a:off x="899592" y="188640"/>
            <a:ext cx="6840760" cy="4426422"/>
            <a:chOff x="971600" y="401501"/>
            <a:chExt cx="7967626" cy="4210398"/>
          </a:xfrm>
        </p:grpSpPr>
        <p:graphicFrame>
          <p:nvGraphicFramePr>
            <p:cNvPr id="70" name="Диаграмма 40"/>
            <p:cNvGraphicFramePr/>
            <p:nvPr>
              <p:extLst>
                <p:ext uri="{D42A27DB-BD31-4B8C-83A1-F6EECF244321}">
                  <p14:modId xmlns:p14="http://schemas.microsoft.com/office/powerpoint/2010/main" val="1600073608"/>
                </p:ext>
              </p:extLst>
            </p:nvPr>
          </p:nvGraphicFramePr>
          <p:xfrm>
            <a:off x="971600" y="401501"/>
            <a:ext cx="7967626" cy="42103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0"/>
            </a:graphicData>
          </a:graphic>
        </p:graphicFrame>
        <p:sp>
          <p:nvSpPr>
            <p:cNvPr id="71" name="Oval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174354" y="1299671"/>
              <a:ext cx="591242" cy="281088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0202" tIns="45101" rIns="90202" bIns="45101" anchor="ctr"/>
            <a:lstStyle/>
            <a:p>
              <a:pPr algn="ctr">
                <a:defRPr/>
              </a:pPr>
              <a:r>
                <a:rPr lang="en-US" sz="1569" kern="0" dirty="0" smtClean="0">
                  <a:solidFill>
                    <a:srgbClr val="FFFFFF"/>
                  </a:solidFill>
                  <a:cs typeface="Arial"/>
                </a:rPr>
                <a:t>27</a:t>
              </a:r>
              <a:endParaRPr lang="uk-UA" sz="1569" kern="0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72" name="Oval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8174354" y="2602494"/>
              <a:ext cx="591242" cy="28108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0202" tIns="45101" rIns="90202" bIns="45101" anchor="ctr"/>
            <a:lstStyle/>
            <a:p>
              <a:pPr algn="ctr">
                <a:defRPr/>
              </a:pPr>
              <a:r>
                <a:rPr lang="en-US" sz="1569" kern="0" dirty="0" smtClean="0">
                  <a:solidFill>
                    <a:srgbClr val="FFFFFF"/>
                  </a:solidFill>
                  <a:cs typeface="Arial"/>
                </a:rPr>
                <a:t>19</a:t>
              </a:r>
              <a:endParaRPr lang="uk-UA" sz="1569" kern="0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73" name="Oval 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8174354" y="3764773"/>
              <a:ext cx="591242" cy="281088"/>
            </a:xfrm>
            <a:prstGeom prst="ellipse">
              <a:avLst/>
            </a:prstGeom>
            <a:solidFill>
              <a:srgbClr val="FFC00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0202" tIns="45101" rIns="90202" bIns="45101" anchor="ctr"/>
            <a:lstStyle/>
            <a:p>
              <a:pPr algn="ctr">
                <a:defRPr/>
              </a:pPr>
              <a:r>
                <a:rPr lang="en-US" sz="1569" kern="0" dirty="0" smtClean="0">
                  <a:solidFill>
                    <a:srgbClr val="FFFFFF"/>
                  </a:solidFill>
                  <a:cs typeface="Arial"/>
                </a:rPr>
                <a:t>12</a:t>
              </a:r>
              <a:endParaRPr lang="uk-UA" sz="1569" kern="0" dirty="0">
                <a:solidFill>
                  <a:srgbClr val="FFFFFF"/>
                </a:solidFill>
                <a:cs typeface="Arial"/>
              </a:endParaRPr>
            </a:p>
          </p:txBody>
        </p:sp>
      </p:grpSp>
      <p:pic>
        <p:nvPicPr>
          <p:cNvPr id="82" name="Picture 80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9224" y="4824760"/>
            <a:ext cx="1331168" cy="1331168"/>
          </a:xfrm>
          <a:prstGeom prst="rect">
            <a:avLst/>
          </a:prstGeom>
        </p:spPr>
      </p:pic>
      <p:grpSp>
        <p:nvGrpSpPr>
          <p:cNvPr id="42" name="Группа 64"/>
          <p:cNvGrpSpPr/>
          <p:nvPr/>
        </p:nvGrpSpPr>
        <p:grpSpPr>
          <a:xfrm>
            <a:off x="3336392" y="5085184"/>
            <a:ext cx="3251832" cy="836488"/>
            <a:chOff x="3343172" y="5112792"/>
            <a:chExt cx="3035808" cy="836488"/>
          </a:xfrm>
        </p:grpSpPr>
        <p:sp>
          <p:nvSpPr>
            <p:cNvPr id="47" name="TextBox 46"/>
            <p:cNvSpPr txBox="1"/>
            <p:nvPr/>
          </p:nvSpPr>
          <p:spPr>
            <a:xfrm>
              <a:off x="3343172" y="5112792"/>
              <a:ext cx="3033735" cy="7419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/>
            <a:p>
              <a:pPr marL="0" lvl="6" algn="ctr"/>
              <a:r>
                <a:rPr lang="uk-UA" sz="1400" b="1" dirty="0" smtClean="0"/>
                <a:t> Короткострокові бюджетні надходження</a:t>
              </a:r>
            </a:p>
            <a:p>
              <a:pPr marL="0" lvl="6" algn="ctr"/>
              <a:r>
                <a:rPr lang="uk-UA" sz="1400" b="1" dirty="0" smtClean="0"/>
                <a:t>АБО зростання власного видобутку</a:t>
              </a:r>
              <a:endParaRPr lang="uk-UA" dirty="0"/>
            </a:p>
          </p:txBody>
        </p:sp>
        <p:sp>
          <p:nvSpPr>
            <p:cNvPr id="49" name="Прямоугольник 8"/>
            <p:cNvSpPr/>
            <p:nvPr/>
          </p:nvSpPr>
          <p:spPr>
            <a:xfrm>
              <a:off x="3343172" y="5854715"/>
              <a:ext cx="3035808" cy="94565"/>
            </a:xfrm>
            <a:prstGeom prst="rect">
              <a:avLst/>
            </a:prstGeom>
            <a:solidFill>
              <a:srgbClr val="FEEB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dirty="0"/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362717" y="2217927"/>
            <a:ext cx="268269" cy="1992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lIns="36000" tIns="7200" rIns="36000" bIns="7200" rtlCol="0" anchor="ctr">
            <a:spAutoFit/>
          </a:bodyPr>
          <a:lstStyle/>
          <a:p>
            <a:pPr algn="ctr"/>
            <a:r>
              <a:rPr lang="en-US" sz="1200" dirty="0" smtClean="0"/>
              <a:t>5.4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164900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14716" y="1484784"/>
            <a:ext cx="3365196" cy="12961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67544" y="5597881"/>
            <a:ext cx="8208912" cy="58466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67544" y="4917496"/>
            <a:ext cx="8208912" cy="584663"/>
          </a:xfrm>
          <a:prstGeom prst="rect">
            <a:avLst/>
          </a:prstGeom>
          <a:solidFill>
            <a:srgbClr val="D7EEFD"/>
          </a:solidFill>
        </p:spPr>
      </p:pic>
      <p:sp>
        <p:nvSpPr>
          <p:cNvPr id="13" name="Прямоугольник 12"/>
          <p:cNvSpPr/>
          <p:nvPr/>
        </p:nvSpPr>
        <p:spPr>
          <a:xfrm>
            <a:off x="6924454" y="576954"/>
            <a:ext cx="2113804" cy="612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46141-E31C-41A4-BE53-0A6DFD9041A4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7504" y="6368265"/>
            <a:ext cx="1438214" cy="18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uk-UA" sz="1200" i="1" dirty="0" smtClean="0">
                <a:solidFill>
                  <a:schemeClr val="bg1">
                    <a:lumMod val="50000"/>
                  </a:schemeClr>
                </a:solidFill>
              </a:rPr>
              <a:t>Джерело: </a:t>
            </a:r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I</a:t>
            </a:r>
            <a:r>
              <a:rPr lang="uk-UA" sz="1200" i="1" dirty="0" smtClean="0">
                <a:solidFill>
                  <a:schemeClr val="bg1">
                    <a:lumMod val="50000"/>
                  </a:schemeClr>
                </a:solidFill>
              </a:rPr>
              <a:t>HS </a:t>
            </a:r>
            <a:r>
              <a:rPr lang="uk-UA" sz="1200" i="1" dirty="0" err="1" smtClean="0">
                <a:solidFill>
                  <a:schemeClr val="bg1">
                    <a:lumMod val="50000"/>
                  </a:schemeClr>
                </a:solidFill>
              </a:rPr>
              <a:t>Energy</a:t>
            </a:r>
            <a:r>
              <a:rPr lang="uk-UA" sz="1200" i="1" dirty="0" smtClean="0">
                <a:solidFill>
                  <a:schemeClr val="bg1">
                    <a:lumMod val="50000"/>
                  </a:schemeClr>
                </a:solidFill>
              </a:rPr>
              <a:t>,</a:t>
            </a:r>
          </a:p>
          <a:p>
            <a:r>
              <a:rPr lang="uk-UA" sz="1200" i="1" dirty="0" smtClean="0">
                <a:solidFill>
                  <a:schemeClr val="bg1">
                    <a:lumMod val="50000"/>
                  </a:schemeClr>
                </a:solidFill>
              </a:rPr>
              <a:t>Укргазвидобування</a:t>
            </a:r>
            <a:endParaRPr lang="uk-UA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20" name="Диаграмма 19"/>
          <p:cNvGraphicFramePr/>
          <p:nvPr>
            <p:extLst>
              <p:ext uri="{D42A27DB-BD31-4B8C-83A1-F6EECF244321}">
                <p14:modId xmlns:p14="http://schemas.microsoft.com/office/powerpoint/2010/main" val="2023858226"/>
              </p:ext>
            </p:extLst>
          </p:nvPr>
        </p:nvGraphicFramePr>
        <p:xfrm>
          <a:off x="-118428" y="1451910"/>
          <a:ext cx="5554524" cy="3345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5164714" y="1052736"/>
            <a:ext cx="39792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1400" b="1" dirty="0" smtClean="0"/>
              <a:t>ПОТЕНЦІАЛ НЕЗАЛЕЖНИХ ВИРОБНИКІВ ТА НЕРОЗПОДІЛЕНОГО ФОНДУ</a:t>
            </a:r>
            <a:endParaRPr lang="uk-UA" sz="1400" b="1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251520" y="1052736"/>
            <a:ext cx="381642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400" b="1" dirty="0" smtClean="0">
                <a:latin typeface="+mj-lt"/>
              </a:rPr>
              <a:t>ПОТЕНЦІАЛ РОЗВИТКУ «УКРГАЗВИДОБУВАННЯ»</a:t>
            </a:r>
            <a:endParaRPr lang="uk-UA" sz="1400" b="1" dirty="0">
              <a:latin typeface="+mj-lt"/>
            </a:endParaRPr>
          </a:p>
        </p:txBody>
      </p:sp>
      <p:graphicFrame>
        <p:nvGraphicFramePr>
          <p:cNvPr id="27" name="Диаграмма 26"/>
          <p:cNvGraphicFramePr/>
          <p:nvPr>
            <p:extLst>
              <p:ext uri="{D42A27DB-BD31-4B8C-83A1-F6EECF244321}">
                <p14:modId xmlns:p14="http://schemas.microsoft.com/office/powerpoint/2010/main" val="2531474431"/>
              </p:ext>
            </p:extLst>
          </p:nvPr>
        </p:nvGraphicFramePr>
        <p:xfrm>
          <a:off x="5014510" y="1451910"/>
          <a:ext cx="5318130" cy="33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55576" y="4962345"/>
            <a:ext cx="777686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6"/>
            <a:r>
              <a:rPr lang="uk-UA" sz="1400" b="1" dirty="0" smtClean="0"/>
              <a:t> Амбіційне збільшення  видобутку  потребує революційних змін  для формування сприятливого інвестиційного середовища.</a:t>
            </a:r>
            <a:endParaRPr lang="uk-UA" sz="1400" b="1" dirty="0"/>
          </a:p>
          <a:p>
            <a:endParaRPr lang="uk-UA" dirty="0"/>
          </a:p>
        </p:txBody>
      </p:sp>
      <p:sp>
        <p:nvSpPr>
          <p:cNvPr id="6" name="TextBox 5"/>
          <p:cNvSpPr txBox="1"/>
          <p:nvPr/>
        </p:nvSpPr>
        <p:spPr>
          <a:xfrm>
            <a:off x="611560" y="5619274"/>
            <a:ext cx="79928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400" b="1" dirty="0" smtClean="0"/>
              <a:t>    Держава має знайти </a:t>
            </a:r>
            <a:r>
              <a:rPr lang="uk-UA" sz="1400" b="1" dirty="0"/>
              <a:t>selling points  для нових </a:t>
            </a:r>
            <a:r>
              <a:rPr lang="uk-UA" sz="1400" b="1" dirty="0" smtClean="0"/>
              <a:t>інвесторів та довести інвестиційну</a:t>
            </a:r>
            <a:endParaRPr lang="uk-UA" sz="1400" b="1" dirty="0"/>
          </a:p>
          <a:p>
            <a:r>
              <a:rPr lang="uk-UA" sz="1400" b="1" dirty="0" smtClean="0"/>
              <a:t>    привабливість галузі.</a:t>
            </a:r>
            <a:endParaRPr lang="uk-UA" sz="1400" b="1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43"/>
            <a:ext cx="9144000" cy="875021"/>
          </a:xfrm>
          <a:prstGeom prst="rect">
            <a:avLst/>
          </a:prstGeom>
          <a:solidFill>
            <a:srgbClr val="5BAEE2"/>
          </a:solidFill>
          <a:ln>
            <a:noFill/>
          </a:ln>
        </p:spPr>
      </p:pic>
      <p:sp>
        <p:nvSpPr>
          <p:cNvPr id="16" name="Заголовок 2"/>
          <p:cNvSpPr txBox="1">
            <a:spLocks/>
          </p:cNvSpPr>
          <p:nvPr/>
        </p:nvSpPr>
        <p:spPr>
          <a:xfrm>
            <a:off x="2195736" y="188983"/>
            <a:ext cx="6563072" cy="5789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uk-UA" sz="2800" b="1" dirty="0" smtClean="0"/>
              <a:t>ПОТЕНЦІАЛ </a:t>
            </a:r>
            <a:r>
              <a:rPr lang="uk-UA" sz="2800" b="1" dirty="0"/>
              <a:t>РОЗВИТКУ </a:t>
            </a:r>
            <a:r>
              <a:rPr lang="uk-UA" sz="2800" b="1" dirty="0" smtClean="0"/>
              <a:t>ГАЛУЗІ</a:t>
            </a:r>
            <a:endParaRPr lang="uk-UA" sz="2800" b="1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0"/>
            <a:ext cx="1914086" cy="638751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481427"/>
            <a:ext cx="1061964" cy="40184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16" y="188640"/>
            <a:ext cx="1709012" cy="508906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467544" y="4917496"/>
            <a:ext cx="144016" cy="584663"/>
          </a:xfrm>
          <a:prstGeom prst="rect">
            <a:avLst/>
          </a:prstGeom>
          <a:solidFill>
            <a:srgbClr val="FEE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4" name="Прямоугольник 23"/>
          <p:cNvSpPr/>
          <p:nvPr/>
        </p:nvSpPr>
        <p:spPr>
          <a:xfrm>
            <a:off x="467544" y="5597881"/>
            <a:ext cx="144016" cy="584663"/>
          </a:xfrm>
          <a:prstGeom prst="rect">
            <a:avLst/>
          </a:prstGeom>
          <a:solidFill>
            <a:srgbClr val="FEE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1" name="Правая фигурная скобка 20"/>
          <p:cNvSpPr/>
          <p:nvPr/>
        </p:nvSpPr>
        <p:spPr>
          <a:xfrm>
            <a:off x="3635896" y="1628800"/>
            <a:ext cx="144016" cy="1440160"/>
          </a:xfrm>
          <a:prstGeom prst="rightBrace">
            <a:avLst/>
          </a:prstGeom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авая фигурная скобка 24"/>
          <p:cNvSpPr/>
          <p:nvPr/>
        </p:nvSpPr>
        <p:spPr>
          <a:xfrm>
            <a:off x="8604448" y="1628800"/>
            <a:ext cx="144016" cy="2304256"/>
          </a:xfrm>
          <a:prstGeom prst="rightBrace">
            <a:avLst/>
          </a:prstGeom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/>
          <p:cNvSpPr txBox="1"/>
          <p:nvPr/>
        </p:nvSpPr>
        <p:spPr>
          <a:xfrm>
            <a:off x="3771238" y="2204864"/>
            <a:ext cx="990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rgbClr val="FFC000"/>
                </a:solidFill>
              </a:rPr>
              <a:t>10 </a:t>
            </a:r>
            <a:r>
              <a:rPr lang="ru-RU" sz="1000" b="1" dirty="0" err="1" smtClean="0">
                <a:solidFill>
                  <a:srgbClr val="FFC000"/>
                </a:solidFill>
              </a:rPr>
              <a:t>млрд</a:t>
            </a:r>
            <a:r>
              <a:rPr lang="ru-RU" sz="1000" b="1" dirty="0" smtClean="0">
                <a:solidFill>
                  <a:srgbClr val="FFC000"/>
                </a:solidFill>
              </a:rPr>
              <a:t> куб м</a:t>
            </a:r>
          </a:p>
          <a:p>
            <a:r>
              <a:rPr lang="uk-UA" sz="1000" b="1" dirty="0" smtClean="0">
                <a:solidFill>
                  <a:srgbClr val="FFC000"/>
                </a:solidFill>
              </a:rPr>
              <a:t>під ризиком</a:t>
            </a:r>
            <a:endParaRPr lang="ru-RU" sz="1000" b="1" dirty="0">
              <a:solidFill>
                <a:srgbClr val="FFC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51557" y="2276872"/>
            <a:ext cx="492443" cy="932307"/>
          </a:xfrm>
          <a:prstGeom prst="rect">
            <a:avLst/>
          </a:prstGeom>
          <a:noFill/>
        </p:spPr>
        <p:txBody>
          <a:bodyPr vert="vert" wrap="none" rtlCol="0">
            <a:spAutoFit/>
          </a:bodyPr>
          <a:lstStyle/>
          <a:p>
            <a:r>
              <a:rPr lang="uk-UA" sz="1000" b="1" dirty="0" smtClean="0">
                <a:solidFill>
                  <a:srgbClr val="FFC000"/>
                </a:solidFill>
              </a:rPr>
              <a:t>5.5 </a:t>
            </a:r>
            <a:r>
              <a:rPr lang="ru-RU" sz="1000" b="1" dirty="0" err="1" smtClean="0">
                <a:solidFill>
                  <a:srgbClr val="FFC000"/>
                </a:solidFill>
              </a:rPr>
              <a:t>млрд</a:t>
            </a:r>
            <a:r>
              <a:rPr lang="ru-RU" sz="1000" b="1" dirty="0" smtClean="0">
                <a:solidFill>
                  <a:srgbClr val="FFC000"/>
                </a:solidFill>
              </a:rPr>
              <a:t> куб м</a:t>
            </a:r>
          </a:p>
          <a:p>
            <a:r>
              <a:rPr lang="uk-UA" sz="1000" b="1" dirty="0" smtClean="0">
                <a:solidFill>
                  <a:srgbClr val="FFC000"/>
                </a:solidFill>
              </a:rPr>
              <a:t>під ризиком</a:t>
            </a:r>
            <a:endParaRPr lang="ru-RU" sz="1000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062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3655328" y="5200744"/>
            <a:ext cx="17087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6"/>
            <a:r>
              <a:rPr lang="uk-UA" sz="2400" b="1" smtClean="0">
                <a:solidFill>
                  <a:srgbClr val="FFC000"/>
                </a:solidFill>
              </a:rPr>
              <a:t>500</a:t>
            </a:r>
            <a:endParaRPr lang="uk-UA" sz="1600" b="1" dirty="0" smtClean="0"/>
          </a:p>
          <a:p>
            <a:pPr marL="0" lvl="6"/>
            <a:r>
              <a:rPr lang="uk-UA" sz="1400" b="1" dirty="0" smtClean="0"/>
              <a:t>нових </a:t>
            </a:r>
            <a:r>
              <a:rPr lang="en-US" sz="1400" b="1" dirty="0" smtClean="0"/>
              <a:t> </a:t>
            </a:r>
            <a:r>
              <a:rPr lang="uk-UA" sz="1400" b="1" dirty="0" smtClean="0"/>
              <a:t>свердловин</a:t>
            </a:r>
            <a:endParaRPr lang="en-US" dirty="0" smtClean="0"/>
          </a:p>
          <a:p>
            <a:pPr marL="0" lvl="6"/>
            <a:r>
              <a:rPr lang="ru-RU" sz="1400" b="1" dirty="0" err="1" smtClean="0"/>
              <a:t>щор</a:t>
            </a:r>
            <a:r>
              <a:rPr lang="uk-UA" sz="1400" b="1" dirty="0" err="1" smtClean="0"/>
              <a:t>ічно</a:t>
            </a:r>
            <a:endParaRPr lang="en-US" sz="1400" b="1" dirty="0" smtClean="0"/>
          </a:p>
        </p:txBody>
      </p:sp>
      <p:sp>
        <p:nvSpPr>
          <p:cNvPr id="17" name="Прямоугольник 16"/>
          <p:cNvSpPr/>
          <p:nvPr/>
        </p:nvSpPr>
        <p:spPr>
          <a:xfrm>
            <a:off x="7030196" y="764704"/>
            <a:ext cx="2113804" cy="612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43"/>
            <a:ext cx="9144000" cy="875021"/>
          </a:xfrm>
          <a:prstGeom prst="rect">
            <a:avLst/>
          </a:prstGeom>
        </p:spPr>
      </p:pic>
      <p:graphicFrame>
        <p:nvGraphicFramePr>
          <p:cNvPr id="68" name="Объект 6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301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5"/>
          <p:cNvSpPr txBox="1">
            <a:spLocks/>
          </p:cNvSpPr>
          <p:nvPr/>
        </p:nvSpPr>
        <p:spPr>
          <a:xfrm>
            <a:off x="6942691" y="640864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4</a:t>
            </a:r>
            <a:endParaRPr lang="uk-UA" dirty="0"/>
          </a:p>
        </p:txBody>
      </p:sp>
      <p:sp>
        <p:nvSpPr>
          <p:cNvPr id="8" name="Номер слайда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11" name="TextBox 10"/>
          <p:cNvSpPr txBox="1"/>
          <p:nvPr/>
        </p:nvSpPr>
        <p:spPr>
          <a:xfrm>
            <a:off x="2483768" y="118373"/>
            <a:ext cx="2888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3600" dirty="0" smtClean="0"/>
              <a:t> </a:t>
            </a:r>
            <a:endParaRPr lang="uk-UA" sz="3600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159266" y="198072"/>
            <a:ext cx="6527534" cy="578937"/>
          </a:xfrm>
        </p:spPr>
        <p:txBody>
          <a:bodyPr/>
          <a:lstStyle/>
          <a:p>
            <a:pPr algn="l"/>
            <a:r>
              <a:rPr lang="uk-UA" sz="2200" b="1" dirty="0" smtClean="0"/>
              <a:t>ТРИ КИТИ</a:t>
            </a:r>
            <a:r>
              <a:rPr lang="ru-RU" sz="2200" b="1" dirty="0" smtClean="0"/>
              <a:t> </a:t>
            </a:r>
            <a:r>
              <a:rPr lang="uk-UA" sz="2200" b="1" dirty="0" smtClean="0"/>
              <a:t>ДЛЯ РОЗВИТКУ ГАЗОВИДОБУВНОЇ ГАЛУЗІ</a:t>
            </a:r>
            <a:endParaRPr lang="uk-UA" sz="2200" b="1" dirty="0"/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0"/>
            <a:ext cx="1914086" cy="638751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481427"/>
            <a:ext cx="1061964" cy="40184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16" y="188640"/>
            <a:ext cx="1709012" cy="50890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78" t="33384" r="11578" b="9847"/>
          <a:stretch/>
        </p:blipFill>
        <p:spPr>
          <a:xfrm>
            <a:off x="1304814" y="1938674"/>
            <a:ext cx="6534372" cy="3002494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1475656" y="1196751"/>
            <a:ext cx="1343379" cy="74192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lvl="6"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</a:p>
          <a:p>
            <a:pPr marL="0" lvl="6" algn="ctr"/>
            <a:r>
              <a:rPr lang="uk-UA" b="1" dirty="0" smtClean="0"/>
              <a:t>ІНВЕСТИЦІЇ</a:t>
            </a:r>
            <a:endParaRPr lang="uk-UA" sz="2400" dirty="0"/>
          </a:p>
        </p:txBody>
      </p:sp>
      <p:sp>
        <p:nvSpPr>
          <p:cNvPr id="46" name="TextBox 45"/>
          <p:cNvSpPr txBox="1"/>
          <p:nvPr/>
        </p:nvSpPr>
        <p:spPr>
          <a:xfrm>
            <a:off x="3948701" y="1196751"/>
            <a:ext cx="1343379" cy="74192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lvl="6"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</a:t>
            </a:r>
          </a:p>
          <a:p>
            <a:pPr marL="0" lvl="6" algn="ctr"/>
            <a:r>
              <a:rPr lang="ru-RU" b="1" dirty="0" smtClean="0"/>
              <a:t>ТЕХНОЛОГІЇ</a:t>
            </a:r>
            <a:endParaRPr lang="uk-UA" sz="2400" dirty="0"/>
          </a:p>
        </p:txBody>
      </p:sp>
      <p:sp>
        <p:nvSpPr>
          <p:cNvPr id="50" name="TextBox 49"/>
          <p:cNvSpPr txBox="1"/>
          <p:nvPr/>
        </p:nvSpPr>
        <p:spPr>
          <a:xfrm>
            <a:off x="6012160" y="1196751"/>
            <a:ext cx="2207475" cy="74192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lvl="6"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</a:p>
          <a:p>
            <a:pPr marL="0" lvl="6" algn="ctr"/>
            <a:r>
              <a:rPr lang="ru-RU" b="1" dirty="0" smtClean="0"/>
              <a:t>СТАБІЛЬНІСТЬ</a:t>
            </a:r>
            <a:endParaRPr lang="uk-UA" sz="2400" dirty="0"/>
          </a:p>
        </p:txBody>
      </p:sp>
      <p:sp>
        <p:nvSpPr>
          <p:cNvPr id="20" name="Равнобедренный треугольник 19"/>
          <p:cNvSpPr/>
          <p:nvPr/>
        </p:nvSpPr>
        <p:spPr>
          <a:xfrm rot="5400000">
            <a:off x="2879812" y="5409220"/>
            <a:ext cx="864096" cy="36004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6036107" y="5085184"/>
            <a:ext cx="1920269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4000" b="1" dirty="0" smtClean="0">
                <a:solidFill>
                  <a:srgbClr val="FFC000"/>
                </a:solidFill>
              </a:rPr>
              <a:t>27</a:t>
            </a:r>
            <a:r>
              <a:rPr lang="uk-UA" dirty="0" smtClean="0"/>
              <a:t> </a:t>
            </a:r>
            <a:r>
              <a:rPr lang="uk-UA" sz="1400" b="1" dirty="0" err="1" smtClean="0"/>
              <a:t>млрд</a:t>
            </a:r>
            <a:r>
              <a:rPr lang="uk-UA" sz="1400" b="1" dirty="0" smtClean="0"/>
              <a:t> куб м </a:t>
            </a:r>
          </a:p>
          <a:p>
            <a:r>
              <a:rPr lang="uk-UA" sz="1400" b="1" dirty="0" smtClean="0"/>
              <a:t>видобутку газу в 2020 </a:t>
            </a:r>
            <a:endParaRPr lang="uk-UA" sz="1400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1254208" y="5085184"/>
            <a:ext cx="1683794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4000" b="1" dirty="0" smtClean="0">
                <a:solidFill>
                  <a:srgbClr val="FFC000"/>
                </a:solidFill>
              </a:rPr>
              <a:t>1.5</a:t>
            </a:r>
            <a:r>
              <a:rPr lang="uk-UA" dirty="0" smtClean="0"/>
              <a:t> </a:t>
            </a:r>
            <a:r>
              <a:rPr lang="uk-UA" sz="1400" b="1" dirty="0" err="1" smtClean="0"/>
              <a:t>млрд</a:t>
            </a:r>
            <a:r>
              <a:rPr lang="uk-UA" sz="1400" b="1" dirty="0" smtClean="0"/>
              <a:t> </a:t>
            </a:r>
            <a:r>
              <a:rPr lang="en-US" sz="1400" b="1" dirty="0" smtClean="0"/>
              <a:t> </a:t>
            </a:r>
            <a:r>
              <a:rPr lang="uk-UA" sz="1400" b="1" dirty="0" err="1" smtClean="0"/>
              <a:t>дол</a:t>
            </a:r>
            <a:endParaRPr lang="uk-UA" sz="1400" b="1" dirty="0" smtClean="0"/>
          </a:p>
          <a:p>
            <a:r>
              <a:rPr lang="uk-UA" sz="1400" b="1" dirty="0" smtClean="0"/>
              <a:t>інвестицій в рік</a:t>
            </a:r>
            <a:endParaRPr lang="uk-UA" sz="1400" b="1" dirty="0"/>
          </a:p>
        </p:txBody>
      </p:sp>
      <p:sp>
        <p:nvSpPr>
          <p:cNvPr id="29" name="Равнобедренный треугольник 28"/>
          <p:cNvSpPr/>
          <p:nvPr/>
        </p:nvSpPr>
        <p:spPr>
          <a:xfrm rot="5400000">
            <a:off x="5210194" y="5409220"/>
            <a:ext cx="864096" cy="36004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7096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9416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uk-UA" smtClean="0"/>
              <a:pPr/>
              <a:t>5</a:t>
            </a:fld>
            <a:endParaRPr lang="uk-UA" dirty="0"/>
          </a:p>
        </p:txBody>
      </p:sp>
      <p:sp>
        <p:nvSpPr>
          <p:cNvPr id="7" name="Номер слайда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8" name="Номер слайда 3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14" name="TextBox 13"/>
          <p:cNvSpPr txBox="1"/>
          <p:nvPr/>
        </p:nvSpPr>
        <p:spPr>
          <a:xfrm>
            <a:off x="2483768" y="118373"/>
            <a:ext cx="2423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2000" dirty="0" smtClean="0"/>
              <a:t> </a:t>
            </a:r>
            <a:endParaRPr lang="uk-UA" sz="2000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6924454" y="576954"/>
            <a:ext cx="2113804" cy="612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51" name="Рисунок 5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43"/>
            <a:ext cx="9144000" cy="875021"/>
          </a:xfrm>
          <a:prstGeom prst="rect">
            <a:avLst/>
          </a:prstGeom>
          <a:ln>
            <a:noFill/>
          </a:ln>
        </p:spPr>
      </p:pic>
      <p:sp>
        <p:nvSpPr>
          <p:cNvPr id="52" name="Заголовок 2"/>
          <p:cNvSpPr txBox="1">
            <a:spLocks/>
          </p:cNvSpPr>
          <p:nvPr/>
        </p:nvSpPr>
        <p:spPr>
          <a:xfrm>
            <a:off x="2290582" y="221581"/>
            <a:ext cx="6563072" cy="5789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uk-UA" sz="2000" b="1" dirty="0" smtClean="0"/>
              <a:t>ІНВЕСТИЦІЇ ПОТРЕБУЮТЬ КОНКУРЕНТНОГО СЕРЕДОВИЩА</a:t>
            </a:r>
            <a:endParaRPr lang="uk-UA" sz="2000" b="1" dirty="0"/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0"/>
            <a:ext cx="1914086" cy="638751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481427"/>
            <a:ext cx="1061964" cy="401840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16" y="188640"/>
            <a:ext cx="1709012" cy="508906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229030" y="1359904"/>
            <a:ext cx="8637631" cy="4979674"/>
            <a:chOff x="229030" y="1359904"/>
            <a:chExt cx="8637631" cy="4368620"/>
          </a:xfrm>
        </p:grpSpPr>
        <p:sp>
          <p:nvSpPr>
            <p:cNvPr id="62" name="Прямоугольник 61"/>
            <p:cNvSpPr/>
            <p:nvPr/>
          </p:nvSpPr>
          <p:spPr>
            <a:xfrm>
              <a:off x="6752182" y="1359904"/>
              <a:ext cx="1965844" cy="4331021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dirty="0"/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2757501" y="1359904"/>
              <a:ext cx="3994683" cy="4331021"/>
            </a:xfrm>
            <a:prstGeom prst="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dirty="0"/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383502" y="1359904"/>
              <a:ext cx="2373998" cy="43310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dirty="0"/>
            </a:p>
          </p:txBody>
        </p:sp>
        <p:graphicFrame>
          <p:nvGraphicFramePr>
            <p:cNvPr id="65" name="Диаграмма 64"/>
            <p:cNvGraphicFramePr/>
            <p:nvPr>
              <p:extLst>
                <p:ext uri="{D42A27DB-BD31-4B8C-83A1-F6EECF244321}">
                  <p14:modId xmlns:p14="http://schemas.microsoft.com/office/powerpoint/2010/main" val="2175167128"/>
                </p:ext>
              </p:extLst>
            </p:nvPr>
          </p:nvGraphicFramePr>
          <p:xfrm>
            <a:off x="229030" y="1552372"/>
            <a:ext cx="6677120" cy="400062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graphicFrame>
          <p:nvGraphicFramePr>
            <p:cNvPr id="66" name="Диаграмма 65"/>
            <p:cNvGraphicFramePr/>
            <p:nvPr>
              <p:extLst>
                <p:ext uri="{D42A27DB-BD31-4B8C-83A1-F6EECF244321}">
                  <p14:modId xmlns:p14="http://schemas.microsoft.com/office/powerpoint/2010/main" val="4281516190"/>
                </p:ext>
              </p:extLst>
            </p:nvPr>
          </p:nvGraphicFramePr>
          <p:xfrm>
            <a:off x="6661086" y="1525208"/>
            <a:ext cx="2205575" cy="400062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67" name="Прямоугольник 66"/>
            <p:cNvSpPr/>
            <p:nvPr/>
          </p:nvSpPr>
          <p:spPr>
            <a:xfrm>
              <a:off x="323903" y="1384641"/>
              <a:ext cx="2581620" cy="3986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uk-UA" sz="1100" b="1" dirty="0" smtClean="0"/>
                <a:t>Країни з видобутком </a:t>
              </a:r>
            </a:p>
            <a:p>
              <a:pPr algn="ctr"/>
              <a:r>
                <a:rPr lang="uk-UA" sz="1100" b="1" dirty="0" smtClean="0"/>
                <a:t>&lt;40 </a:t>
              </a:r>
              <a:r>
                <a:rPr lang="uk-UA" sz="1100" b="1" dirty="0" err="1" smtClean="0"/>
                <a:t>б.н.е</a:t>
              </a:r>
              <a:r>
                <a:rPr lang="uk-UA" sz="1100" b="1" dirty="0" smtClean="0"/>
                <a:t>./добу/свердл.</a:t>
              </a:r>
              <a:endParaRPr lang="uk-UA" sz="1100" b="1" dirty="0"/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2701602" y="1387307"/>
              <a:ext cx="4002408" cy="3844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uk-UA" sz="1000" b="1" dirty="0" smtClean="0"/>
                <a:t>Країни з видобутком </a:t>
              </a:r>
            </a:p>
            <a:p>
              <a:pPr algn="ctr"/>
              <a:r>
                <a:rPr lang="uk-UA" sz="1000" b="1" dirty="0" smtClean="0"/>
                <a:t>&gt;40 </a:t>
              </a:r>
              <a:r>
                <a:rPr lang="uk-UA" sz="1000" b="1" dirty="0" err="1" smtClean="0"/>
                <a:t>б.н.е</a:t>
              </a:r>
              <a:r>
                <a:rPr lang="uk-UA" sz="1000" b="1" dirty="0" smtClean="0"/>
                <a:t>./</a:t>
              </a:r>
              <a:r>
                <a:rPr lang="uk-UA" sz="1100" b="1" dirty="0" smtClean="0"/>
                <a:t>добу/свердл</a:t>
              </a:r>
              <a:r>
                <a:rPr lang="uk-UA" sz="1000" b="1" dirty="0" smtClean="0"/>
                <a:t>.</a:t>
              </a:r>
              <a:endParaRPr lang="uk-UA" sz="1000" b="1" dirty="0"/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7194138" y="1390224"/>
              <a:ext cx="1241361" cy="2562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uk-UA" sz="1200" b="1" dirty="0" smtClean="0"/>
                <a:t>Україна</a:t>
              </a:r>
              <a:endParaRPr lang="uk-UA" sz="1200" b="1" dirty="0"/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6990798" y="5400965"/>
              <a:ext cx="878323" cy="22857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uk-UA" sz="900" dirty="0" smtClean="0">
                  <a:solidFill>
                    <a:schemeClr val="tx1"/>
                  </a:solidFill>
                </a:rPr>
                <a:t>2014-2015</a:t>
              </a:r>
              <a:endParaRPr lang="uk-UA" sz="900" dirty="0">
                <a:solidFill>
                  <a:schemeClr val="tx1"/>
                </a:solidFill>
              </a:endParaRP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7917291" y="5400965"/>
              <a:ext cx="575905" cy="228574"/>
            </a:xfrm>
            <a:prstGeom prst="rect">
              <a:avLst/>
            </a:prstGeom>
            <a:solidFill>
              <a:srgbClr val="B7DE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uk-UA" sz="900" dirty="0" smtClean="0">
                  <a:solidFill>
                    <a:schemeClr val="tx1"/>
                  </a:solidFill>
                </a:rPr>
                <a:t>2016</a:t>
              </a:r>
              <a:endParaRPr lang="uk-UA" sz="900" dirty="0">
                <a:solidFill>
                  <a:schemeClr val="tx1"/>
                </a:solidFill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3929322" y="5260773"/>
              <a:ext cx="2787751" cy="2562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dirty="0" err="1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Усі</a:t>
              </a:r>
              <a:r>
                <a:rPr lang="ru-RU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 </a:t>
              </a:r>
              <a:r>
                <a:rPr lang="ru-RU" sz="1200" dirty="0" err="1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країни</a:t>
              </a:r>
              <a:r>
                <a:rPr lang="ru-RU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 </a:t>
              </a:r>
              <a:r>
                <a:rPr lang="ru-RU" sz="1200" dirty="0" err="1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Європи</a:t>
              </a:r>
              <a:r>
                <a:rPr lang="ru-RU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 без </a:t>
              </a:r>
              <a:r>
                <a:rPr lang="ru-RU" sz="1200" dirty="0" err="1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Гронінгена</a:t>
              </a:r>
              <a:r>
                <a:rPr lang="ru-RU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 – 9,3%</a:t>
              </a: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2732621" y="5472237"/>
              <a:ext cx="5260129" cy="2562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uk-UA" sz="1200" dirty="0" smtClean="0">
                  <a:solidFill>
                    <a:srgbClr val="00B050"/>
                  </a:solidFill>
                </a:rPr>
                <a:t>Країни з видобутком менше 40 </a:t>
              </a:r>
              <a:r>
                <a:rPr lang="uk-UA" sz="1200" dirty="0" err="1" smtClean="0">
                  <a:solidFill>
                    <a:srgbClr val="00B050"/>
                  </a:solidFill>
                </a:rPr>
                <a:t>б.н.е</a:t>
              </a:r>
              <a:r>
                <a:rPr lang="uk-UA" sz="1200" dirty="0" smtClean="0">
                  <a:solidFill>
                    <a:srgbClr val="00B050"/>
                  </a:solidFill>
                </a:rPr>
                <a:t>./добу/свердл. – 7,5%</a:t>
              </a:r>
              <a:endParaRPr lang="uk-UA" sz="1200" dirty="0">
                <a:solidFill>
                  <a:srgbClr val="00B050"/>
                </a:solidFill>
              </a:endParaRPr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395535" y="4175206"/>
              <a:ext cx="82296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395535" y="4247214"/>
              <a:ext cx="8229600" cy="0"/>
            </a:xfrm>
            <a:prstGeom prst="line">
              <a:avLst/>
            </a:prstGeom>
            <a:ln w="19050"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/>
          <p:cNvGrpSpPr/>
          <p:nvPr/>
        </p:nvGrpSpPr>
        <p:grpSpPr>
          <a:xfrm>
            <a:off x="395536" y="955251"/>
            <a:ext cx="5813386" cy="308829"/>
            <a:chOff x="540881" y="837605"/>
            <a:chExt cx="5813386" cy="308829"/>
          </a:xfrm>
        </p:grpSpPr>
        <p:sp>
          <p:nvSpPr>
            <p:cNvPr id="61" name="Прямоугольник 60"/>
            <p:cNvSpPr/>
            <p:nvPr/>
          </p:nvSpPr>
          <p:spPr>
            <a:xfrm>
              <a:off x="540881" y="837605"/>
              <a:ext cx="581338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uk-UA" sz="1400" b="1" dirty="0" smtClean="0"/>
                <a:t>ЕФЕКТИВНА СТАВКА РЕНТИ ТА АНАЛОГІЧНИХ ПЛАТЕЖІВ, % ВІД ВИРУЧКИ</a:t>
              </a:r>
              <a:endParaRPr lang="uk-UA" sz="1400" b="1" dirty="0"/>
            </a:p>
          </p:txBody>
        </p:sp>
        <p:sp>
          <p:nvSpPr>
            <p:cNvPr id="41" name="Прямоугольник 45"/>
            <p:cNvSpPr/>
            <p:nvPr/>
          </p:nvSpPr>
          <p:spPr>
            <a:xfrm>
              <a:off x="540881" y="872114"/>
              <a:ext cx="45719" cy="274320"/>
            </a:xfrm>
            <a:prstGeom prst="rect">
              <a:avLst/>
            </a:prstGeom>
            <a:solidFill>
              <a:srgbClr val="FEEB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107504" y="6633376"/>
            <a:ext cx="1438214" cy="18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uk-UA" sz="1200" i="1" dirty="0" smtClean="0">
                <a:solidFill>
                  <a:schemeClr val="bg1">
                    <a:lumMod val="50000"/>
                  </a:schemeClr>
                </a:solidFill>
              </a:rPr>
              <a:t>Джерело: </a:t>
            </a:r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Deloitte</a:t>
            </a:r>
            <a:endParaRPr lang="uk-UA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457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BDB59-C5F1-4464-A3E4-841D3F34B293}" type="slidenum">
              <a:rPr lang="uk-UA" smtClean="0"/>
              <a:pPr/>
              <a:t>6</a:t>
            </a:fld>
            <a:r>
              <a:rPr lang="uk-UA" dirty="0" smtClean="0"/>
              <a:t> </a:t>
            </a:r>
            <a:endParaRPr lang="uk-UA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6924454" y="576954"/>
            <a:ext cx="2113804" cy="612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43"/>
            <a:ext cx="9144000" cy="875021"/>
          </a:xfrm>
          <a:prstGeom prst="rect">
            <a:avLst/>
          </a:prstGeom>
          <a:ln>
            <a:noFill/>
          </a:ln>
        </p:spPr>
      </p:pic>
      <p:sp>
        <p:nvSpPr>
          <p:cNvPr id="42" name="Заголовок 2"/>
          <p:cNvSpPr txBox="1">
            <a:spLocks/>
          </p:cNvSpPr>
          <p:nvPr/>
        </p:nvSpPr>
        <p:spPr>
          <a:xfrm>
            <a:off x="2123728" y="188983"/>
            <a:ext cx="6705326" cy="5789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uk-UA" sz="2400" b="1" dirty="0" smtClean="0"/>
              <a:t>НИЗЬКА ЦІНА НА ВУГЛЕВОДНІ ВПЛИВАЄ НА ІНВЕСТИЦІЙНІ АПЕТИТИ</a:t>
            </a:r>
            <a:endParaRPr lang="uk-UA" sz="2400" b="1" dirty="0"/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0"/>
            <a:ext cx="1914086" cy="638751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481427"/>
            <a:ext cx="1061964" cy="401840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16" y="188640"/>
            <a:ext cx="1709012" cy="508906"/>
          </a:xfrm>
          <a:prstGeom prst="rect">
            <a:avLst/>
          </a:prstGeom>
        </p:spPr>
      </p:pic>
      <p:graphicFrame>
        <p:nvGraphicFramePr>
          <p:cNvPr id="50" name="Диаграмма 64"/>
          <p:cNvGraphicFramePr/>
          <p:nvPr>
            <p:extLst>
              <p:ext uri="{D42A27DB-BD31-4B8C-83A1-F6EECF244321}">
                <p14:modId xmlns:p14="http://schemas.microsoft.com/office/powerpoint/2010/main" val="2260260874"/>
              </p:ext>
            </p:extLst>
          </p:nvPr>
        </p:nvGraphicFramePr>
        <p:xfrm>
          <a:off x="229030" y="1155891"/>
          <a:ext cx="8600024" cy="5177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51" name="Straight Connector 50"/>
          <p:cNvCxnSpPr/>
          <p:nvPr/>
        </p:nvCxnSpPr>
        <p:spPr>
          <a:xfrm>
            <a:off x="617606" y="3610930"/>
            <a:ext cx="8046720" cy="0"/>
          </a:xfrm>
          <a:prstGeom prst="line">
            <a:avLst/>
          </a:prstGeom>
          <a:ln w="254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105775" y="980728"/>
            <a:ext cx="3033735" cy="5782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/>
          <a:p>
            <a:pPr marL="0" lvl="6" algn="ctr"/>
            <a:r>
              <a:rPr lang="uk-UA" sz="1400" b="1" dirty="0" smtClean="0"/>
              <a:t>ЦІНА НА ГАЗ</a:t>
            </a:r>
            <a:r>
              <a:rPr lang="en-US" sz="1400" b="1" dirty="0" smtClean="0"/>
              <a:t> -</a:t>
            </a:r>
            <a:r>
              <a:rPr lang="uk-UA" sz="1400" b="1" dirty="0" smtClean="0"/>
              <a:t> </a:t>
            </a:r>
            <a:r>
              <a:rPr lang="en-US" sz="1400" b="1" dirty="0" smtClean="0"/>
              <a:t>$</a:t>
            </a:r>
            <a:r>
              <a:rPr lang="uk-UA" sz="1400" b="1" dirty="0"/>
              <a:t>1</a:t>
            </a:r>
            <a:r>
              <a:rPr lang="uk-UA" sz="1400" b="1" dirty="0" smtClean="0"/>
              <a:t>80 </a:t>
            </a:r>
          </a:p>
          <a:p>
            <a:pPr marL="0" lvl="6" algn="ctr"/>
            <a:r>
              <a:rPr lang="ru-RU" sz="1400" b="1" dirty="0" smtClean="0"/>
              <a:t>РЕНТА – </a:t>
            </a:r>
            <a:r>
              <a:rPr lang="uk-UA" sz="1400" b="1" dirty="0" smtClean="0"/>
              <a:t>29</a:t>
            </a:r>
            <a:r>
              <a:rPr lang="en-US" sz="1400" b="1" dirty="0" smtClean="0"/>
              <a:t>/</a:t>
            </a:r>
            <a:r>
              <a:rPr lang="uk-UA" sz="1400" b="1" dirty="0" smtClean="0"/>
              <a:t>14</a:t>
            </a:r>
            <a:r>
              <a:rPr lang="en-US" sz="1400" b="1" dirty="0" smtClean="0"/>
              <a:t>%</a:t>
            </a:r>
            <a:endParaRPr lang="uk-UA" dirty="0"/>
          </a:p>
        </p:txBody>
      </p:sp>
      <p:sp>
        <p:nvSpPr>
          <p:cNvPr id="14" name="Прямоугольник 33"/>
          <p:cNvSpPr/>
          <p:nvPr/>
        </p:nvSpPr>
        <p:spPr>
          <a:xfrm>
            <a:off x="1788958" y="3304428"/>
            <a:ext cx="37191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43993"/>
            <a:r>
              <a:rPr lang="uk-UA" sz="1400" b="1" dirty="0" smtClean="0">
                <a:solidFill>
                  <a:srgbClr val="C00000"/>
                </a:solidFill>
                <a:cs typeface="Arial"/>
              </a:rPr>
              <a:t>Ціна на газ</a:t>
            </a:r>
            <a:endParaRPr lang="uk-UA" sz="1400" b="1" baseline="30000" dirty="0">
              <a:solidFill>
                <a:srgbClr val="C00000"/>
              </a:solidFill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7504" y="6453336"/>
            <a:ext cx="1438214" cy="3657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uk-UA" sz="1200" i="1" dirty="0" smtClean="0">
                <a:solidFill>
                  <a:schemeClr val="bg1">
                    <a:lumMod val="50000"/>
                  </a:schemeClr>
                </a:solidFill>
              </a:rPr>
              <a:t>Джерело: IHS </a:t>
            </a:r>
            <a:r>
              <a:rPr lang="uk-UA" sz="1200" i="1" dirty="0" err="1" smtClean="0">
                <a:solidFill>
                  <a:schemeClr val="bg1">
                    <a:lumMod val="50000"/>
                  </a:schemeClr>
                </a:solidFill>
              </a:rPr>
              <a:t>Energy</a:t>
            </a:r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,</a:t>
            </a:r>
            <a:r>
              <a:rPr lang="uk-UA" sz="1200" i="1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uk-UA" sz="1200" i="1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1200" i="1" dirty="0" err="1" smtClean="0">
                <a:solidFill>
                  <a:schemeClr val="bg1">
                    <a:lumMod val="50000"/>
                  </a:schemeClr>
                </a:solidFill>
              </a:rPr>
              <a:t>Асоціація</a:t>
            </a:r>
            <a:endParaRPr lang="uk-UA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27584" y="1916832"/>
            <a:ext cx="3240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200" dirty="0" smtClean="0"/>
              <a:t> </a:t>
            </a:r>
            <a:r>
              <a:rPr lang="en-US" sz="1200" dirty="0" err="1" smtClean="0"/>
              <a:t>CAPEX</a:t>
            </a:r>
            <a:r>
              <a:rPr lang="en-US" sz="1200" dirty="0" smtClean="0"/>
              <a:t>, </a:t>
            </a:r>
            <a:r>
              <a:rPr lang="en-US" sz="1200" dirty="0" err="1" smtClean="0"/>
              <a:t>OPEX</a:t>
            </a:r>
            <a:r>
              <a:rPr lang="en-US" sz="1200" dirty="0" smtClean="0"/>
              <a:t>, Subsoil tax</a:t>
            </a:r>
            <a:r>
              <a:rPr lang="uk-UA" sz="1200" dirty="0" smtClean="0"/>
              <a:t>,</a:t>
            </a:r>
            <a:r>
              <a:rPr lang="en-US" sz="1200" dirty="0" smtClean="0"/>
              <a:t> min </a:t>
            </a:r>
            <a:r>
              <a:rPr lang="en-US" sz="1200" dirty="0" err="1" smtClean="0"/>
              <a:t>ROI</a:t>
            </a:r>
            <a:r>
              <a:rPr lang="en-US" sz="1200" dirty="0" smtClean="0"/>
              <a:t> (20%</a:t>
            </a:r>
            <a:r>
              <a:rPr lang="uk-UA" sz="1200" dirty="0" smtClean="0"/>
              <a:t>), без </a:t>
            </a:r>
            <a:r>
              <a:rPr lang="en-US" sz="1200" dirty="0" err="1" smtClean="0"/>
              <a:t>CPT</a:t>
            </a:r>
            <a:r>
              <a:rPr lang="en-US" sz="1200" dirty="0" smtClean="0"/>
              <a:t> </a:t>
            </a:r>
            <a:r>
              <a:rPr lang="uk-UA" sz="1200" dirty="0" smtClean="0"/>
              <a:t>у розрахунку на 1 тис. куб.</a:t>
            </a:r>
            <a:endParaRPr lang="en-US" sz="1200" dirty="0" smtClean="0"/>
          </a:p>
          <a:p>
            <a:r>
              <a:rPr lang="uk-UA" sz="1200" b="1" u="sng" dirty="0" smtClean="0"/>
              <a:t> Ілюстративне зображення</a:t>
            </a:r>
            <a:endParaRPr lang="ru-RU" sz="1200" b="1" u="sng" dirty="0"/>
          </a:p>
        </p:txBody>
      </p:sp>
    </p:spTree>
    <p:extLst>
      <p:ext uri="{BB962C8B-B14F-4D97-AF65-F5344CB8AC3E}">
        <p14:creationId xmlns:p14="http://schemas.microsoft.com/office/powerpoint/2010/main" val="3578441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7030196" y="764704"/>
            <a:ext cx="2113804" cy="612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43"/>
            <a:ext cx="9144000" cy="875021"/>
          </a:xfrm>
          <a:prstGeom prst="rect">
            <a:avLst/>
          </a:prstGeom>
        </p:spPr>
      </p:pic>
      <p:graphicFrame>
        <p:nvGraphicFramePr>
          <p:cNvPr id="68" name="Объект 6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301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5"/>
          <p:cNvSpPr txBox="1">
            <a:spLocks/>
          </p:cNvSpPr>
          <p:nvPr/>
        </p:nvSpPr>
        <p:spPr>
          <a:xfrm>
            <a:off x="6968817" y="64541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dirty="0" smtClean="0"/>
              <a:t>7</a:t>
            </a:r>
            <a:endParaRPr lang="uk-UA" dirty="0"/>
          </a:p>
        </p:txBody>
      </p:sp>
      <p:sp>
        <p:nvSpPr>
          <p:cNvPr id="8" name="Номер слайда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11" name="TextBox 10"/>
          <p:cNvSpPr txBox="1"/>
          <p:nvPr/>
        </p:nvSpPr>
        <p:spPr>
          <a:xfrm>
            <a:off x="2483768" y="118373"/>
            <a:ext cx="2888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3600" dirty="0" smtClean="0"/>
              <a:t> </a:t>
            </a:r>
            <a:endParaRPr lang="uk-UA" sz="3600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185392" y="198072"/>
            <a:ext cx="6347048" cy="578937"/>
          </a:xfrm>
        </p:spPr>
        <p:txBody>
          <a:bodyPr/>
          <a:lstStyle/>
          <a:p>
            <a:pPr algn="l"/>
            <a:r>
              <a:rPr lang="uk-UA" sz="2200" b="1" dirty="0" smtClean="0"/>
              <a:t>СУЧАСНІ ТЕХНОЛОГІЇ НЕСУТЬ ВЕЛИЧЕЗНИЙ ПОТЕНЦІАЛ</a:t>
            </a:r>
            <a:endParaRPr lang="uk-UA" sz="2200" b="1" dirty="0"/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0"/>
            <a:ext cx="1914086" cy="638751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481427"/>
            <a:ext cx="1061964" cy="40184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16" y="188640"/>
            <a:ext cx="1709012" cy="508906"/>
          </a:xfrm>
          <a:prstGeom prst="rect">
            <a:avLst/>
          </a:prstGeom>
        </p:spPr>
      </p:pic>
      <p:sp>
        <p:nvSpPr>
          <p:cNvPr id="37" name="Прямоугольник 33"/>
          <p:cNvSpPr/>
          <p:nvPr/>
        </p:nvSpPr>
        <p:spPr>
          <a:xfrm>
            <a:off x="342362" y="1250757"/>
            <a:ext cx="371914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43993"/>
            <a:r>
              <a:rPr lang="uk-UA" sz="1400" b="1" dirty="0" smtClean="0">
                <a:solidFill>
                  <a:srgbClr val="000000"/>
                </a:solidFill>
                <a:cs typeface="Arial"/>
              </a:rPr>
              <a:t>МАКСИМАЛЬНА ДОВЖИНА ГОРИЗОНТАЛЬНОГО СТВОЛУ СВЕРДЛОВИНИ</a:t>
            </a:r>
          </a:p>
          <a:p>
            <a:pPr defTabSz="843993"/>
            <a:r>
              <a:rPr lang="uk-UA" sz="1400" dirty="0" smtClean="0">
                <a:solidFill>
                  <a:srgbClr val="000000">
                    <a:lumMod val="50000"/>
                    <a:lumOff val="50000"/>
                  </a:srgbClr>
                </a:solidFill>
                <a:cs typeface="Arial"/>
              </a:rPr>
              <a:t>кілометрів</a:t>
            </a:r>
            <a:endParaRPr lang="uk-UA" sz="1400" baseline="30000" dirty="0">
              <a:solidFill>
                <a:srgbClr val="000000">
                  <a:lumMod val="50000"/>
                  <a:lumOff val="50000"/>
                </a:srgbClr>
              </a:solidFill>
              <a:cs typeface="Arial"/>
            </a:endParaRPr>
          </a:p>
        </p:txBody>
      </p:sp>
      <p:sp>
        <p:nvSpPr>
          <p:cNvPr id="38" name="Прямоугольник 45"/>
          <p:cNvSpPr/>
          <p:nvPr/>
        </p:nvSpPr>
        <p:spPr>
          <a:xfrm>
            <a:off x="336679" y="1342832"/>
            <a:ext cx="45719" cy="555997"/>
          </a:xfrm>
          <a:prstGeom prst="rect">
            <a:avLst/>
          </a:prstGeom>
          <a:solidFill>
            <a:srgbClr val="FEE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22" name="Group 21"/>
          <p:cNvGrpSpPr/>
          <p:nvPr/>
        </p:nvGrpSpPr>
        <p:grpSpPr>
          <a:xfrm>
            <a:off x="467544" y="2060848"/>
            <a:ext cx="3108960" cy="4036339"/>
            <a:chOff x="503581" y="2060848"/>
            <a:chExt cx="3108960" cy="4036339"/>
          </a:xfrm>
        </p:grpSpPr>
        <p:grpSp>
          <p:nvGrpSpPr>
            <p:cNvPr id="13" name="Group 12"/>
            <p:cNvGrpSpPr/>
            <p:nvPr/>
          </p:nvGrpSpPr>
          <p:grpSpPr>
            <a:xfrm>
              <a:off x="503581" y="2060848"/>
              <a:ext cx="3108960" cy="3723824"/>
              <a:chOff x="958984" y="2225456"/>
              <a:chExt cx="3108960" cy="3723824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958984" y="2660628"/>
                <a:ext cx="3108960" cy="3288652"/>
                <a:chOff x="2183120" y="1152893"/>
                <a:chExt cx="3108960" cy="4423283"/>
              </a:xfrm>
            </p:grpSpPr>
            <p:sp>
              <p:nvSpPr>
                <p:cNvPr id="27" name="Прямоугольник 46"/>
                <p:cNvSpPr/>
                <p:nvPr/>
              </p:nvSpPr>
              <p:spPr>
                <a:xfrm rot="5400000">
                  <a:off x="3714740" y="3998837"/>
                  <a:ext cx="45719" cy="3108960"/>
                </a:xfrm>
                <a:prstGeom prst="rect">
                  <a:avLst/>
                </a:prstGeom>
                <a:solidFill>
                  <a:schemeClr val="tx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pic>
              <p:nvPicPr>
                <p:cNvPr id="28" name="Picture 27"/>
                <p:cNvPicPr preferRelativeResize="0">
                  <a:picLocks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2688843" y="5041142"/>
                  <a:ext cx="548640" cy="432263"/>
                </a:xfrm>
                <a:prstGeom prst="rect">
                  <a:avLst/>
                </a:prstGeom>
              </p:spPr>
            </p:pic>
            <p:pic>
              <p:nvPicPr>
                <p:cNvPr id="30" name="Picture 29"/>
                <p:cNvPicPr preferRelativeResize="0">
                  <a:picLocks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2688844" y="4492776"/>
                  <a:ext cx="548640" cy="432263"/>
                </a:xfrm>
                <a:prstGeom prst="rect">
                  <a:avLst/>
                </a:prstGeom>
              </p:spPr>
            </p:pic>
            <p:pic>
              <p:nvPicPr>
                <p:cNvPr id="31" name="Picture 30"/>
                <p:cNvPicPr preferRelativeResize="0">
                  <a:picLocks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2688845" y="3944410"/>
                  <a:ext cx="548640" cy="432263"/>
                </a:xfrm>
                <a:prstGeom prst="rect">
                  <a:avLst/>
                </a:prstGeom>
              </p:spPr>
            </p:pic>
            <p:pic>
              <p:nvPicPr>
                <p:cNvPr id="32" name="Picture 31"/>
                <p:cNvPicPr preferRelativeResize="0">
                  <a:picLocks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2688846" y="3396044"/>
                  <a:ext cx="548640" cy="432263"/>
                </a:xfrm>
                <a:prstGeom prst="rect">
                  <a:avLst/>
                </a:prstGeom>
              </p:spPr>
            </p:pic>
            <p:pic>
              <p:nvPicPr>
                <p:cNvPr id="33" name="Picture 32"/>
                <p:cNvPicPr preferRelativeResize="0">
                  <a:picLocks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2688847" y="2847678"/>
                  <a:ext cx="548640" cy="432263"/>
                </a:xfrm>
                <a:prstGeom prst="rect">
                  <a:avLst/>
                </a:prstGeom>
              </p:spPr>
            </p:pic>
            <p:pic>
              <p:nvPicPr>
                <p:cNvPr id="34" name="Picture 33"/>
                <p:cNvPicPr preferRelativeResize="0">
                  <a:picLocks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2688848" y="2302242"/>
                  <a:ext cx="548640" cy="432263"/>
                </a:xfrm>
                <a:prstGeom prst="rect">
                  <a:avLst/>
                </a:prstGeom>
              </p:spPr>
            </p:pic>
            <p:pic>
              <p:nvPicPr>
                <p:cNvPr id="35" name="Picture 34"/>
                <p:cNvPicPr preferRelativeResize="0">
                  <a:picLocks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2688849" y="1760298"/>
                  <a:ext cx="548641" cy="432252"/>
                </a:xfrm>
                <a:prstGeom prst="rect">
                  <a:avLst/>
                </a:prstGeom>
              </p:spPr>
            </p:pic>
            <p:pic>
              <p:nvPicPr>
                <p:cNvPr id="41" name="Picture 40"/>
                <p:cNvPicPr preferRelativeResize="0">
                  <a:picLocks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2688850" y="1211088"/>
                  <a:ext cx="548641" cy="432252"/>
                </a:xfrm>
                <a:prstGeom prst="rect">
                  <a:avLst/>
                </a:prstGeom>
              </p:spPr>
            </p:pic>
            <p:pic>
              <p:nvPicPr>
                <p:cNvPr id="42" name="Picture 27"/>
                <p:cNvPicPr preferRelativeResize="0">
                  <a:picLocks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925131" y="5041142"/>
                  <a:ext cx="548641" cy="432263"/>
                </a:xfrm>
                <a:prstGeom prst="rect">
                  <a:avLst/>
                </a:prstGeom>
              </p:spPr>
            </p:pic>
          </p:grpSp>
          <p:sp>
            <p:nvSpPr>
              <p:cNvPr id="43" name="Oval 7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1443406" y="2225456"/>
                <a:ext cx="591242" cy="281088"/>
              </a:xfrm>
              <a:prstGeom prst="ellipse">
                <a:avLst/>
              </a:prstGeom>
              <a:solidFill>
                <a:srgbClr val="92D05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lIns="90202" tIns="45101" rIns="90202" bIns="45101" anchor="ctr"/>
              <a:lstStyle/>
              <a:p>
                <a:pPr algn="ctr">
                  <a:defRPr/>
                </a:pPr>
                <a:r>
                  <a:rPr lang="en-US" sz="1569" kern="0" dirty="0" smtClean="0">
                    <a:solidFill>
                      <a:srgbClr val="FFFFFF"/>
                    </a:solidFill>
                    <a:cs typeface="Arial"/>
                  </a:rPr>
                  <a:t>8</a:t>
                </a:r>
                <a:endParaRPr lang="uk-UA" sz="1569" kern="0" dirty="0">
                  <a:solidFill>
                    <a:srgbClr val="FFFFFF"/>
                  </a:solidFill>
                  <a:cs typeface="Arial"/>
                </a:endParaRPr>
              </a:p>
            </p:txBody>
          </p:sp>
          <p:sp>
            <p:nvSpPr>
              <p:cNvPr id="44" name="Oval 7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2674612" y="5105776"/>
                <a:ext cx="591242" cy="281088"/>
              </a:xfrm>
              <a:prstGeom prst="ellipse">
                <a:avLst/>
              </a:prstGeom>
              <a:solidFill>
                <a:srgbClr val="92D05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lIns="90202" tIns="45101" rIns="90202" bIns="45101" anchor="ctr"/>
              <a:lstStyle/>
              <a:p>
                <a:pPr algn="ctr">
                  <a:defRPr/>
                </a:pPr>
                <a:r>
                  <a:rPr lang="en-US" sz="1569" kern="0" dirty="0" smtClean="0">
                    <a:solidFill>
                      <a:srgbClr val="FFFFFF"/>
                    </a:solidFill>
                    <a:cs typeface="Arial"/>
                  </a:rPr>
                  <a:t>1</a:t>
                </a:r>
                <a:endParaRPr lang="uk-UA" sz="1569" kern="0" dirty="0">
                  <a:solidFill>
                    <a:srgbClr val="FFFFFF"/>
                  </a:solidFill>
                  <a:cs typeface="Arial"/>
                </a:endParaRPr>
              </a:p>
            </p:txBody>
          </p:sp>
        </p:grpSp>
        <p:sp>
          <p:nvSpPr>
            <p:cNvPr id="47" name="Прямоугольник 33"/>
            <p:cNvSpPr/>
            <p:nvPr/>
          </p:nvSpPr>
          <p:spPr>
            <a:xfrm>
              <a:off x="871664" y="5779937"/>
              <a:ext cx="76255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43993"/>
              <a:r>
                <a:rPr lang="uk-UA" sz="1400" b="1" dirty="0" smtClean="0">
                  <a:solidFill>
                    <a:srgbClr val="000000"/>
                  </a:solidFill>
                  <a:cs typeface="Arial"/>
                </a:rPr>
                <a:t>США</a:t>
              </a:r>
              <a:endParaRPr lang="uk-UA" sz="1400" baseline="30000" dirty="0">
                <a:solidFill>
                  <a:srgbClr val="000000">
                    <a:lumMod val="50000"/>
                    <a:lumOff val="50000"/>
                  </a:srgbClr>
                </a:solidFill>
                <a:cs typeface="Arial"/>
              </a:endParaRPr>
            </a:p>
          </p:txBody>
        </p:sp>
        <p:sp>
          <p:nvSpPr>
            <p:cNvPr id="49" name="Прямоугольник 33"/>
            <p:cNvSpPr/>
            <p:nvPr/>
          </p:nvSpPr>
          <p:spPr>
            <a:xfrm>
              <a:off x="2097549" y="5779937"/>
              <a:ext cx="834561" cy="3172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43993"/>
              <a:r>
                <a:rPr lang="uk-UA" sz="1400" b="1" dirty="0" smtClean="0">
                  <a:solidFill>
                    <a:srgbClr val="000000"/>
                  </a:solidFill>
                  <a:cs typeface="Arial"/>
                </a:rPr>
                <a:t>Україна</a:t>
              </a:r>
              <a:endParaRPr lang="uk-UA" sz="1400" baseline="30000" dirty="0">
                <a:solidFill>
                  <a:srgbClr val="000000">
                    <a:lumMod val="50000"/>
                    <a:lumOff val="50000"/>
                  </a:srgbClr>
                </a:solidFill>
                <a:cs typeface="Arial"/>
              </a:endParaRPr>
            </a:p>
          </p:txBody>
        </p:sp>
      </p:grpSp>
      <p:sp>
        <p:nvSpPr>
          <p:cNvPr id="58" name="Прямоугольник 33"/>
          <p:cNvSpPr/>
          <p:nvPr/>
        </p:nvSpPr>
        <p:spPr>
          <a:xfrm>
            <a:off x="6067008" y="5713511"/>
            <a:ext cx="1097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43993"/>
            <a:r>
              <a:rPr lang="uk-UA" sz="1400" b="1" dirty="0" smtClean="0">
                <a:solidFill>
                  <a:srgbClr val="000000"/>
                </a:solidFill>
                <a:cs typeface="Arial"/>
              </a:rPr>
              <a:t>- </a:t>
            </a:r>
            <a:r>
              <a:rPr lang="uk-UA" sz="1400" b="1" dirty="0">
                <a:solidFill>
                  <a:srgbClr val="000000"/>
                </a:solidFill>
                <a:cs typeface="Arial"/>
              </a:rPr>
              <a:t>щ</a:t>
            </a:r>
            <a:r>
              <a:rPr lang="uk-UA" sz="1400" b="1" dirty="0" smtClean="0">
                <a:solidFill>
                  <a:srgbClr val="000000"/>
                </a:solidFill>
                <a:cs typeface="Arial"/>
              </a:rPr>
              <a:t>орічно -</a:t>
            </a:r>
            <a:endParaRPr lang="uk-UA" sz="1400" baseline="30000" dirty="0">
              <a:solidFill>
                <a:srgbClr val="000000">
                  <a:lumMod val="50000"/>
                  <a:lumOff val="50000"/>
                </a:srgbClr>
              </a:solidFill>
              <a:cs typeface="Arial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0808" y="1250757"/>
            <a:ext cx="3324783" cy="3022079"/>
          </a:xfrm>
          <a:prstGeom prst="rect">
            <a:avLst/>
          </a:prstGeom>
        </p:spPr>
      </p:pic>
      <p:sp>
        <p:nvSpPr>
          <p:cNvPr id="52" name="Прямоугольник 33"/>
          <p:cNvSpPr/>
          <p:nvPr/>
        </p:nvSpPr>
        <p:spPr>
          <a:xfrm>
            <a:off x="4894971" y="4476301"/>
            <a:ext cx="37191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43993"/>
            <a:r>
              <a:rPr lang="uk-UA" sz="1400" b="1" dirty="0" smtClean="0">
                <a:solidFill>
                  <a:srgbClr val="000000"/>
                </a:solidFill>
                <a:cs typeface="Arial"/>
              </a:rPr>
              <a:t>КІЛЬКІСТЬ ПРОВЕДЕНИХ ГІДРОРОЗРИВІВ ПЛАСТА (ГРП)</a:t>
            </a:r>
          </a:p>
        </p:txBody>
      </p:sp>
      <p:sp>
        <p:nvSpPr>
          <p:cNvPr id="53" name="Прямоугольник 45"/>
          <p:cNvSpPr/>
          <p:nvPr/>
        </p:nvSpPr>
        <p:spPr>
          <a:xfrm>
            <a:off x="4889288" y="4528553"/>
            <a:ext cx="45719" cy="411480"/>
          </a:xfrm>
          <a:prstGeom prst="rect">
            <a:avLst/>
          </a:prstGeom>
          <a:solidFill>
            <a:srgbClr val="FEE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20" name="Picture 19"/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680" y="5188048"/>
            <a:ext cx="630936" cy="329184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680" y="5696091"/>
            <a:ext cx="629174" cy="332204"/>
          </a:xfrm>
          <a:prstGeom prst="rect">
            <a:avLst/>
          </a:prstGeom>
        </p:spPr>
      </p:pic>
      <p:sp>
        <p:nvSpPr>
          <p:cNvPr id="56" name="Oval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306189" y="5202857"/>
            <a:ext cx="591242" cy="281088"/>
          </a:xfrm>
          <a:prstGeom prst="ellipse">
            <a:avLst/>
          </a:prstGeom>
          <a:solidFill>
            <a:srgbClr val="92D050"/>
          </a:solidFill>
          <a:ln w="9525">
            <a:noFill/>
            <a:round/>
            <a:headEnd/>
            <a:tailEnd/>
          </a:ln>
          <a:effectLst/>
        </p:spPr>
        <p:txBody>
          <a:bodyPr wrap="none" lIns="90202" tIns="45101" rIns="90202" bIns="45101" anchor="ctr"/>
          <a:lstStyle/>
          <a:p>
            <a:pPr algn="ctr">
              <a:defRPr/>
            </a:pPr>
            <a:r>
              <a:rPr lang="uk-UA" sz="1569" kern="0" dirty="0" smtClean="0">
                <a:solidFill>
                  <a:srgbClr val="FFFFFF"/>
                </a:solidFill>
                <a:cs typeface="Arial"/>
              </a:rPr>
              <a:t>15</a:t>
            </a:r>
            <a:endParaRPr lang="uk-UA" sz="1569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57" name="Oval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293126" y="5740200"/>
            <a:ext cx="640080" cy="281088"/>
          </a:xfrm>
          <a:prstGeom prst="ellipse">
            <a:avLst/>
          </a:prstGeom>
          <a:solidFill>
            <a:srgbClr val="92D050"/>
          </a:solidFill>
          <a:ln w="9525">
            <a:noFill/>
            <a:round/>
            <a:headEnd/>
            <a:tailEnd/>
          </a:ln>
          <a:effectLst/>
        </p:spPr>
        <p:txBody>
          <a:bodyPr wrap="none" lIns="90202" tIns="45101" rIns="90202" bIns="45101" anchor="ctr"/>
          <a:lstStyle/>
          <a:p>
            <a:pPr algn="ctr">
              <a:defRPr/>
            </a:pPr>
            <a:r>
              <a:rPr lang="en-US" sz="1569" kern="0" dirty="0" smtClean="0">
                <a:solidFill>
                  <a:srgbClr val="FFFFFF"/>
                </a:solidFill>
                <a:cs typeface="Arial"/>
              </a:rPr>
              <a:t>20 000</a:t>
            </a:r>
            <a:endParaRPr lang="uk-UA" sz="1569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69" name="Прямоугольник 33"/>
          <p:cNvSpPr/>
          <p:nvPr/>
        </p:nvSpPr>
        <p:spPr>
          <a:xfrm>
            <a:off x="6067008" y="5189512"/>
            <a:ext cx="1188720" cy="274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43993"/>
            <a:r>
              <a:rPr lang="uk-UA" sz="1400" b="1" dirty="0" smtClean="0">
                <a:solidFill>
                  <a:srgbClr val="000000"/>
                </a:solidFill>
                <a:cs typeface="Arial"/>
              </a:rPr>
              <a:t>- за 5 років -</a:t>
            </a:r>
            <a:endParaRPr lang="uk-UA" sz="1400" baseline="30000" dirty="0">
              <a:solidFill>
                <a:srgbClr val="000000">
                  <a:lumMod val="50000"/>
                  <a:lumOff val="50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0802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5"/>
          <p:cNvSpPr txBox="1">
            <a:spLocks/>
          </p:cNvSpPr>
          <p:nvPr/>
        </p:nvSpPr>
        <p:spPr>
          <a:xfrm>
            <a:off x="6926585" y="64408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8</a:t>
            </a:r>
            <a:endParaRPr lang="uk-UA" dirty="0"/>
          </a:p>
        </p:txBody>
      </p:sp>
      <p:sp>
        <p:nvSpPr>
          <p:cNvPr id="8" name="Номер слайда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69160"/>
            <a:ext cx="9144000" cy="141277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5229200"/>
            <a:ext cx="959024" cy="970047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6924454" y="576954"/>
            <a:ext cx="2113804" cy="663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43"/>
            <a:ext cx="9144000" cy="875021"/>
          </a:xfrm>
          <a:prstGeom prst="rect">
            <a:avLst/>
          </a:prstGeom>
          <a:ln>
            <a:noFill/>
          </a:ln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0"/>
            <a:ext cx="1914086" cy="638751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481427"/>
            <a:ext cx="1061964" cy="40184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16" y="188640"/>
            <a:ext cx="1709012" cy="50890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994909" y="3105835"/>
            <a:ext cx="51541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36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ЩО МИ ПРОПОНУЄМО?</a:t>
            </a:r>
          </a:p>
        </p:txBody>
      </p:sp>
    </p:spTree>
    <p:extLst>
      <p:ext uri="{BB962C8B-B14F-4D97-AF65-F5344CB8AC3E}">
        <p14:creationId xmlns:p14="http://schemas.microsoft.com/office/powerpoint/2010/main" val="372040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7030196" y="764704"/>
            <a:ext cx="2113804" cy="612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43"/>
            <a:ext cx="9144000" cy="87502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2891" y="1673470"/>
            <a:ext cx="4987305" cy="4154778"/>
          </a:xfrm>
          <a:prstGeom prst="rect">
            <a:avLst/>
          </a:prstGeom>
        </p:spPr>
      </p:pic>
      <p:sp>
        <p:nvSpPr>
          <p:cNvPr id="15" name="Овал 14"/>
          <p:cNvSpPr/>
          <p:nvPr/>
        </p:nvSpPr>
        <p:spPr>
          <a:xfrm>
            <a:off x="3217973" y="2343640"/>
            <a:ext cx="2736304" cy="2727478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aphicFrame>
        <p:nvGraphicFramePr>
          <p:cNvPr id="68" name="Объект 6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301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5"/>
          <p:cNvSpPr txBox="1">
            <a:spLocks/>
          </p:cNvSpPr>
          <p:nvPr/>
        </p:nvSpPr>
        <p:spPr>
          <a:xfrm>
            <a:off x="6968168" y="643364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9</a:t>
            </a:r>
            <a:endParaRPr lang="uk-UA" dirty="0"/>
          </a:p>
        </p:txBody>
      </p:sp>
      <p:sp>
        <p:nvSpPr>
          <p:cNvPr id="8" name="Номер слайда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dirty="0"/>
          </a:p>
        </p:txBody>
      </p:sp>
      <p:sp>
        <p:nvSpPr>
          <p:cNvPr id="11" name="TextBox 10"/>
          <p:cNvSpPr txBox="1"/>
          <p:nvPr/>
        </p:nvSpPr>
        <p:spPr>
          <a:xfrm>
            <a:off x="2483768" y="118373"/>
            <a:ext cx="2888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3600" dirty="0" smtClean="0"/>
              <a:t> </a:t>
            </a:r>
            <a:endParaRPr lang="uk-UA" sz="3600" dirty="0"/>
          </a:p>
        </p:txBody>
      </p:sp>
      <p:sp>
        <p:nvSpPr>
          <p:cNvPr id="5" name="TextBox 4"/>
          <p:cNvSpPr txBox="1"/>
          <p:nvPr/>
        </p:nvSpPr>
        <p:spPr>
          <a:xfrm>
            <a:off x="3373636" y="3012251"/>
            <a:ext cx="2517249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uk-UA" sz="1900" b="1" dirty="0" smtClean="0">
                <a:solidFill>
                  <a:schemeClr val="bg1"/>
                </a:solidFill>
              </a:rPr>
              <a:t> Конкурентне  фіскальне та регуляторне середовище</a:t>
            </a:r>
            <a:br>
              <a:rPr lang="uk-UA" sz="1900" b="1" dirty="0" smtClean="0">
                <a:solidFill>
                  <a:schemeClr val="bg1"/>
                </a:solidFill>
              </a:rPr>
            </a:br>
            <a:endParaRPr lang="uk-UA" sz="1900" b="1" dirty="0">
              <a:solidFill>
                <a:schemeClr val="bg1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649368" y="1736201"/>
            <a:ext cx="1554480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90000"/>
              </a:lnSpc>
            </a:pPr>
            <a:r>
              <a:rPr lang="uk-UA" sz="1200" b="1" spc="-50" dirty="0" smtClean="0"/>
              <a:t>Мультиплікативний ефект зростання економіки</a:t>
            </a:r>
            <a:endParaRPr lang="uk-UA" sz="1200" b="1" spc="-50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3795636" y="1412776"/>
            <a:ext cx="1580977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</a:pPr>
            <a:r>
              <a:rPr lang="uk-UA" sz="1200" b="1" spc="-50" dirty="0" smtClean="0"/>
              <a:t>Залучення</a:t>
            </a:r>
            <a:br>
              <a:rPr lang="uk-UA" sz="1200" b="1" spc="-50" dirty="0" smtClean="0"/>
            </a:br>
            <a:r>
              <a:rPr lang="uk-UA" sz="1200" b="1" spc="-50" dirty="0" smtClean="0"/>
              <a:t>інвестицій</a:t>
            </a:r>
            <a:endParaRPr lang="uk-UA" sz="1200" b="1" spc="-50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5910982" y="1761737"/>
            <a:ext cx="124177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uk-UA" sz="1200" b="1" spc="-50" dirty="0" smtClean="0"/>
              <a:t>Стимулювання</a:t>
            </a:r>
            <a:br>
              <a:rPr lang="uk-UA" sz="1200" b="1" spc="-50" dirty="0" smtClean="0"/>
            </a:br>
            <a:r>
              <a:rPr lang="uk-UA" sz="1200" b="1" spc="-50" dirty="0" smtClean="0"/>
              <a:t>видобутку</a:t>
            </a:r>
            <a:endParaRPr lang="uk-UA" sz="1200" b="1" spc="-50" dirty="0"/>
          </a:p>
        </p:txBody>
      </p:sp>
      <p:sp>
        <p:nvSpPr>
          <p:cNvPr id="62" name="Прямоугольник 61"/>
          <p:cNvSpPr/>
          <p:nvPr/>
        </p:nvSpPr>
        <p:spPr>
          <a:xfrm>
            <a:off x="6652124" y="4547410"/>
            <a:ext cx="13716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uk-UA" sz="1200" b="1" spc="-50" dirty="0" smtClean="0"/>
              <a:t>Поява іноземних сервісних компаній</a:t>
            </a:r>
            <a:endParaRPr lang="uk-UA" sz="1200" b="1" spc="-50" dirty="0"/>
          </a:p>
        </p:txBody>
      </p:sp>
      <p:sp>
        <p:nvSpPr>
          <p:cNvPr id="63" name="Прямоугольник 62"/>
          <p:cNvSpPr/>
          <p:nvPr/>
        </p:nvSpPr>
        <p:spPr>
          <a:xfrm>
            <a:off x="7051159" y="3073420"/>
            <a:ext cx="124177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uk-UA" sz="1200" b="1" spc="-50" dirty="0" smtClean="0"/>
              <a:t>Залучення нових</a:t>
            </a:r>
            <a:br>
              <a:rPr lang="uk-UA" sz="1200" b="1" spc="-50" dirty="0" smtClean="0"/>
            </a:br>
            <a:r>
              <a:rPr lang="uk-UA" sz="1200" b="1" spc="-50" dirty="0" smtClean="0"/>
              <a:t>технологій</a:t>
            </a:r>
            <a:endParaRPr lang="uk-UA" sz="1200" b="1" spc="-50" dirty="0"/>
          </a:p>
        </p:txBody>
      </p:sp>
      <p:sp>
        <p:nvSpPr>
          <p:cNvPr id="64" name="Прямоугольник 63"/>
          <p:cNvSpPr/>
          <p:nvPr/>
        </p:nvSpPr>
        <p:spPr>
          <a:xfrm>
            <a:off x="5378367" y="5628616"/>
            <a:ext cx="1738446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uk-UA" sz="1200" b="1" spc="-50" dirty="0" smtClean="0"/>
              <a:t>Здешевлення</a:t>
            </a:r>
            <a:br>
              <a:rPr lang="uk-UA" sz="1200" b="1" spc="-50" dirty="0" smtClean="0"/>
            </a:br>
            <a:r>
              <a:rPr lang="uk-UA" sz="1200" b="1" spc="-50" dirty="0" smtClean="0"/>
              <a:t>видобутку вуглеводнів</a:t>
            </a:r>
            <a:endParaRPr lang="uk-UA" sz="1200" b="1" spc="-50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2840011" y="5320416"/>
            <a:ext cx="1067249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90000"/>
              </a:lnSpc>
            </a:pPr>
            <a:r>
              <a:rPr lang="uk-UA" sz="1200" b="1" spc="-50" dirty="0" smtClean="0"/>
              <a:t>Застосування</a:t>
            </a:r>
            <a:br>
              <a:rPr lang="uk-UA" sz="1200" b="1" spc="-50" dirty="0" smtClean="0"/>
            </a:br>
            <a:r>
              <a:rPr lang="uk-UA" sz="1200" b="1" spc="-50" dirty="0" smtClean="0"/>
              <a:t>сучасних</a:t>
            </a:r>
            <a:br>
              <a:rPr lang="uk-UA" sz="1200" b="1" spc="-50" dirty="0" smtClean="0"/>
            </a:br>
            <a:r>
              <a:rPr lang="uk-UA" sz="1200" b="1" spc="-50" dirty="0" smtClean="0"/>
              <a:t>технологій</a:t>
            </a:r>
            <a:br>
              <a:rPr lang="uk-UA" sz="1200" b="1" spc="-50" dirty="0" smtClean="0"/>
            </a:br>
            <a:r>
              <a:rPr lang="uk-UA" sz="1200" b="1" spc="-50" dirty="0" smtClean="0"/>
              <a:t>інтенсифікації</a:t>
            </a:r>
            <a:endParaRPr lang="uk-UA" sz="1200" b="1" spc="-50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893235" y="3093254"/>
            <a:ext cx="112869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90000"/>
              </a:lnSpc>
            </a:pPr>
            <a:r>
              <a:rPr lang="uk-UA" sz="1200" b="1" spc="-50" dirty="0" smtClean="0"/>
              <a:t>Зменшення необхідних обсягів імпорту</a:t>
            </a:r>
            <a:endParaRPr lang="uk-UA" sz="1200" b="1" spc="-50" dirty="0"/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0"/>
            <a:ext cx="1914086" cy="638751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481427"/>
            <a:ext cx="1061964" cy="40184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16" y="188640"/>
            <a:ext cx="1709012" cy="508906"/>
          </a:xfrm>
          <a:prstGeom prst="rect">
            <a:avLst/>
          </a:prstGeom>
        </p:spPr>
      </p:pic>
      <p:sp>
        <p:nvSpPr>
          <p:cNvPr id="27" name="Заголовок 2"/>
          <p:cNvSpPr txBox="1">
            <a:spLocks/>
          </p:cNvSpPr>
          <p:nvPr/>
        </p:nvSpPr>
        <p:spPr>
          <a:xfrm>
            <a:off x="2290582" y="221581"/>
            <a:ext cx="6563072" cy="5789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uk-UA" sz="2200" b="1" dirty="0"/>
              <a:t>ЗМІНИ ЯК ШАНС ДЛЯ УКРАЇНСЬКОЇ </a:t>
            </a:r>
            <a:r>
              <a:rPr lang="uk-UA" sz="2200" b="1" dirty="0" err="1" smtClean="0"/>
              <a:t>“ІСТОРІЇ</a:t>
            </a:r>
            <a:r>
              <a:rPr lang="uk-UA" sz="2200" b="1" dirty="0" smtClean="0"/>
              <a:t> </a:t>
            </a:r>
            <a:r>
              <a:rPr lang="uk-UA" sz="2200" b="1" dirty="0" err="1" smtClean="0"/>
              <a:t>УСПІХУ”</a:t>
            </a:r>
            <a:endParaRPr lang="uk-UA" sz="2200" b="1" dirty="0"/>
          </a:p>
        </p:txBody>
      </p:sp>
      <p:sp>
        <p:nvSpPr>
          <p:cNvPr id="28" name="Прямоугольник 66"/>
          <p:cNvSpPr/>
          <p:nvPr/>
        </p:nvSpPr>
        <p:spPr>
          <a:xfrm>
            <a:off x="1355075" y="4511395"/>
            <a:ext cx="112869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90000"/>
              </a:lnSpc>
            </a:pPr>
            <a:r>
              <a:rPr lang="uk-UA" sz="1200" b="1" spc="-50" dirty="0" smtClean="0"/>
              <a:t>Підвищення</a:t>
            </a:r>
            <a:br>
              <a:rPr lang="uk-UA" sz="1200" b="1" spc="-50" dirty="0" smtClean="0"/>
            </a:br>
            <a:r>
              <a:rPr lang="uk-UA" sz="1200" b="1" spc="-50" dirty="0" smtClean="0"/>
              <a:t>енергетичної безпеки держави</a:t>
            </a:r>
            <a:endParaRPr lang="uk-UA" sz="1200" b="1" spc="-50" dirty="0"/>
          </a:p>
        </p:txBody>
      </p:sp>
    </p:spTree>
    <p:extLst>
      <p:ext uri="{BB962C8B-B14F-4D97-AF65-F5344CB8AC3E}">
        <p14:creationId xmlns:p14="http://schemas.microsoft.com/office/powerpoint/2010/main" val="2509838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xjAy8DYkqAz0JPbKucR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xjAy8DYkqAz0JPbKucR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xjAy8DYkqAz0JPbKuc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xjAy8DYkqAz0JPbKuc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xjAy8DYkqAz0JPbKuc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xjAy8DYkqAz0JPbKuc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xjAy8DYkqAz0JPbKuc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xjAy8DYkqAz0JPbKuc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25400">
          <a:solidFill>
            <a:schemeClr val="tx2"/>
          </a:solidFill>
        </a:ln>
        <a:effectLst>
          <a:outerShdw blurRad="76200" dist="50800" dir="5400000" sx="96000" sy="96000" algn="ctr" rotWithShape="0">
            <a:schemeClr val="tx2"/>
          </a:outerShdw>
        </a:effectLst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87</TotalTime>
  <Words>395</Words>
  <Application>Microsoft Office PowerPoint</Application>
  <PresentationFormat>Экран (4:3)</PresentationFormat>
  <Paragraphs>128</Paragraphs>
  <Slides>11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Тема Office</vt:lpstr>
      <vt:lpstr>think-cell Slide</vt:lpstr>
      <vt:lpstr>Презентация PowerPoint</vt:lpstr>
      <vt:lpstr>ГАЛУЗЬ НА РОЗДОРІЖЖІ -  ЯКИЙ ВИБРАТИ ШЛЯХ</vt:lpstr>
      <vt:lpstr>Презентация PowerPoint</vt:lpstr>
      <vt:lpstr>ТРИ КИТИ ДЛЯ РОЗВИТКУ ГАЗОВИДОБУВНОЇ ГАЛУЗІ</vt:lpstr>
      <vt:lpstr>Презентация PowerPoint</vt:lpstr>
      <vt:lpstr>Презентация PowerPoint</vt:lpstr>
      <vt:lpstr>СУЧАСНІ ТЕХНОЛОГІЇ НЕСУТЬ ВЕЛИЧЕЗНИЙ ПОТЕНЦІАЛ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обровольное страхование имущества третьих лиц</dc:title>
  <dc:creator>Maria</dc:creator>
  <cp:lastModifiedBy>Liliya</cp:lastModifiedBy>
  <cp:revision>519</cp:revision>
  <cp:lastPrinted>2014-01-21T18:05:29Z</cp:lastPrinted>
  <dcterms:created xsi:type="dcterms:W3CDTF">2014-01-17T09:43:48Z</dcterms:created>
  <dcterms:modified xsi:type="dcterms:W3CDTF">2016-05-30T08:50:31Z</dcterms:modified>
</cp:coreProperties>
</file>